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bookmarkIdSeed="3">
  <p:sldMasterIdLst>
    <p:sldMasterId id="2147483668" r:id="rId3"/>
  </p:sldMasterIdLst>
  <p:notesMasterIdLst>
    <p:notesMasterId r:id="rId12"/>
  </p:notesMasterIdLst>
  <p:handoutMasterIdLst>
    <p:handoutMasterId r:id="rId13"/>
  </p:handoutMasterIdLst>
  <p:sldIdLst>
    <p:sldId id="326" r:id="rId4"/>
    <p:sldId id="384" r:id="rId5"/>
    <p:sldId id="388" r:id="rId6"/>
    <p:sldId id="389" r:id="rId7"/>
    <p:sldId id="390" r:id="rId8"/>
    <p:sldId id="391" r:id="rId9"/>
    <p:sldId id="392" r:id="rId10"/>
    <p:sldId id="327" r:id="rId11"/>
  </p:sldIdLst>
  <p:sldSz cx="12192000" cy="6858000"/>
  <p:notesSz cx="6858000" cy="9144000"/>
  <p:custDataLst>
    <p:tags r:id="rId14"/>
  </p:custDataLst>
  <p:defaultTextStyle>
    <a:defPPr marL="0" marR="0" indent="0" algn="l" defTabSz="642915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266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321457" rtl="0" fontAlgn="auto" latinLnBrk="0" hangingPunct="0">
      <a:lnSpc>
        <a:spcPct val="9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1pPr>
    <a:lvl2pPr marL="0" marR="0" indent="160729" algn="l" defTabSz="321457" rtl="0" fontAlgn="auto" latinLnBrk="0" hangingPunct="0">
      <a:lnSpc>
        <a:spcPct val="9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2pPr>
    <a:lvl3pPr marL="0" marR="0" indent="321457" algn="l" defTabSz="321457" rtl="0" fontAlgn="auto" latinLnBrk="0" hangingPunct="0">
      <a:lnSpc>
        <a:spcPct val="9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3pPr>
    <a:lvl4pPr marL="0" marR="0" indent="482186" algn="l" defTabSz="321457" rtl="0" fontAlgn="auto" latinLnBrk="0" hangingPunct="0">
      <a:lnSpc>
        <a:spcPct val="9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4pPr>
    <a:lvl5pPr marL="0" marR="0" indent="642915" algn="l" defTabSz="321457" rtl="0" fontAlgn="auto" latinLnBrk="0" hangingPunct="0">
      <a:lnSpc>
        <a:spcPct val="9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5pPr>
    <a:lvl6pPr marL="0" marR="0" indent="803643" algn="l" defTabSz="321457" rtl="0" fontAlgn="auto" latinLnBrk="0" hangingPunct="0">
      <a:lnSpc>
        <a:spcPct val="9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6pPr>
    <a:lvl7pPr marL="0" marR="0" indent="964372" algn="l" defTabSz="321457" rtl="0" fontAlgn="auto" latinLnBrk="0" hangingPunct="0">
      <a:lnSpc>
        <a:spcPct val="9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7pPr>
    <a:lvl8pPr marL="0" marR="0" indent="1125101" algn="l" defTabSz="321457" rtl="0" fontAlgn="auto" latinLnBrk="0" hangingPunct="0">
      <a:lnSpc>
        <a:spcPct val="9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8pPr>
    <a:lvl9pPr marL="0" marR="0" indent="1285829" algn="l" defTabSz="321457" rtl="0" fontAlgn="auto" latinLnBrk="0" hangingPunct="0">
      <a:lnSpc>
        <a:spcPct val="9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9pPr>
  </p:defaultTextStyle>
  <p:extLst>
    <p:ext uri="{521415D9-36F7-43E2-AB2F-B90AF26B5E84}">
      <p14:sectionLst xmlns:p14="http://schemas.microsoft.com/office/powerpoint/2010/main">
        <p14:section name="Contents" id="{68D5A76C-40E1-49C9-A9C9-71D72418FAD1}">
          <p14:sldIdLst/>
        </p14:section>
        <p14:section name="01 - Template Slides" id="{CD51F9CE-A724-4805-8C91-5AA4212B8F32}">
          <p14:sldIdLst>
            <p14:sldId id="326"/>
            <p14:sldId id="384"/>
            <p14:sldId id="388"/>
            <p14:sldId id="389"/>
            <p14:sldId id="390"/>
            <p14:sldId id="391"/>
            <p14:sldId id="392"/>
          </p14:sldIdLst>
        </p14:section>
        <p14:section name="Contact" id="{60D807ED-7796-465B-BC07-5B8E74576E01}">
          <p14:sldIdLst>
            <p14:sldId id="32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765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RD" initials="A" lastIdx="2" clrIdx="0">
    <p:extLst>
      <p:ext uri="{19B8F6BF-5375-455C-9EA6-DF929625EA0E}">
        <p15:presenceInfo xmlns:p15="http://schemas.microsoft.com/office/powerpoint/2012/main" userId="S-1-5-21-222763248-1291098560-3834593293-330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BE9E5"/>
    <a:srgbClr val="10593F"/>
    <a:srgbClr val="00684C"/>
    <a:srgbClr val="207B62"/>
    <a:srgbClr val="006A4D"/>
    <a:srgbClr val="00684B"/>
    <a:srgbClr val="494949"/>
    <a:srgbClr val="646464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2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3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8F44A2F1-9E1F-4B54-A3A2-5F16C0AD49E2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3797C6"/>
              </a:solidFill>
              <a:prstDash val="solid"/>
              <a:miter lim="400000"/>
            </a:ln>
          </a:left>
          <a:right>
            <a:ln w="12700" cap="flat">
              <a:solidFill>
                <a:srgbClr val="3797C6"/>
              </a:solidFill>
              <a:prstDash val="solid"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solidFill>
                <a:srgbClr val="3797C6"/>
              </a:solidFill>
              <a:prstDash val="solid"/>
              <a:miter lim="400000"/>
            </a:ln>
          </a:bottom>
          <a:insideH>
            <a:ln w="12700" cap="flat">
              <a:solidFill>
                <a:srgbClr val="3797C6"/>
              </a:solidFill>
              <a:prstDash val="solid"/>
              <a:miter lim="400000"/>
            </a:ln>
          </a:insideH>
          <a:insideV>
            <a:ln w="12700" cap="flat">
              <a:solidFill>
                <a:srgbClr val="3797C6"/>
              </a:solidFill>
              <a:prstDash val="solid"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3797C6"/>
              </a:solidFill>
              <a:prstDash val="solid"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solidFill>
                <a:srgbClr val="3797C6"/>
              </a:solidFill>
              <a:prstDash val="solid"/>
              <a:miter lim="400000"/>
            </a:ln>
          </a:bottom>
          <a:insideH>
            <a:ln w="12700" cap="flat">
              <a:solidFill>
                <a:srgbClr val="3797C6"/>
              </a:solidFill>
              <a:prstDash val="solid"/>
              <a:miter lim="400000"/>
            </a:ln>
          </a:insideH>
          <a:insideV>
            <a:ln w="12700" cap="flat">
              <a:solidFill>
                <a:srgbClr val="3797C6"/>
              </a:solidFill>
              <a:prstDash val="solid"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solidFill>
                <a:srgbClr val="3797C6"/>
              </a:solidFill>
              <a:prstDash val="solid"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3797C6"/>
              </a:solidFill>
              <a:prstDash val="solid"/>
              <a:miter lim="400000"/>
            </a:ln>
          </a:left>
          <a:right>
            <a:ln w="12700" cap="flat">
              <a:solidFill>
                <a:srgbClr val="3797C6"/>
              </a:solidFill>
              <a:prstDash val="solid"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3797C6"/>
              </a:solidFill>
              <a:prstDash val="solid"/>
              <a:miter lim="400000"/>
            </a:ln>
          </a:insideH>
          <a:insideV>
            <a:ln w="12700" cap="flat">
              <a:solidFill>
                <a:srgbClr val="3797C6"/>
              </a:solidFill>
              <a:prstDash val="solid"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Designformatvorlage 2 - Akz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Designformatvorlage 2 - Akz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286" autoAdjust="0"/>
    <p:restoredTop sz="94660"/>
  </p:normalViewPr>
  <p:slideViewPr>
    <p:cSldViewPr snapToGrid="0" snapToObjects="1">
      <p:cViewPr varScale="1">
        <p:scale>
          <a:sx n="122" d="100"/>
          <a:sy n="122" d="100"/>
        </p:scale>
        <p:origin x="114" y="198"/>
      </p:cViewPr>
      <p:guideLst>
        <p:guide orient="horz" pos="2160"/>
        <p:guide pos="7651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98" d="100"/>
          <a:sy n="98" d="100"/>
        </p:scale>
        <p:origin x="3516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493CDB-2FDD-4E9B-B159-254DF99FF46E}" type="datetimeFigureOut">
              <a:rPr lang="de-DE" smtClean="0"/>
              <a:t>22.04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52387C-B49F-4C0D-9E1A-58C2744B364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72539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31" name="Shape 31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07519788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321457" latinLnBrk="0">
      <a:defRPr sz="1547">
        <a:latin typeface="Lucida Grande"/>
        <a:ea typeface="Lucida Grande"/>
        <a:cs typeface="Lucida Grande"/>
        <a:sym typeface="Lucida Grande"/>
      </a:defRPr>
    </a:lvl1pPr>
    <a:lvl2pPr indent="160729" defTabSz="321457" latinLnBrk="0">
      <a:defRPr sz="1547">
        <a:latin typeface="Lucida Grande"/>
        <a:ea typeface="Lucida Grande"/>
        <a:cs typeface="Lucida Grande"/>
        <a:sym typeface="Lucida Grande"/>
      </a:defRPr>
    </a:lvl2pPr>
    <a:lvl3pPr indent="321457" defTabSz="321457" latinLnBrk="0">
      <a:defRPr sz="1547">
        <a:latin typeface="Lucida Grande"/>
        <a:ea typeface="Lucida Grande"/>
        <a:cs typeface="Lucida Grande"/>
        <a:sym typeface="Lucida Grande"/>
      </a:defRPr>
    </a:lvl3pPr>
    <a:lvl4pPr indent="482186" defTabSz="321457" latinLnBrk="0">
      <a:defRPr sz="1547">
        <a:latin typeface="Lucida Grande"/>
        <a:ea typeface="Lucida Grande"/>
        <a:cs typeface="Lucida Grande"/>
        <a:sym typeface="Lucida Grande"/>
      </a:defRPr>
    </a:lvl4pPr>
    <a:lvl5pPr indent="642915" defTabSz="321457" latinLnBrk="0">
      <a:defRPr sz="1547">
        <a:latin typeface="Lucida Grande"/>
        <a:ea typeface="Lucida Grande"/>
        <a:cs typeface="Lucida Grande"/>
        <a:sym typeface="Lucida Grande"/>
      </a:defRPr>
    </a:lvl5pPr>
    <a:lvl6pPr indent="803643" defTabSz="321457" latinLnBrk="0">
      <a:defRPr sz="1547">
        <a:latin typeface="Lucida Grande"/>
        <a:ea typeface="Lucida Grande"/>
        <a:cs typeface="Lucida Grande"/>
        <a:sym typeface="Lucida Grande"/>
      </a:defRPr>
    </a:lvl6pPr>
    <a:lvl7pPr indent="964372" defTabSz="321457" latinLnBrk="0">
      <a:defRPr sz="1547">
        <a:latin typeface="Lucida Grande"/>
        <a:ea typeface="Lucida Grande"/>
        <a:cs typeface="Lucida Grande"/>
        <a:sym typeface="Lucida Grande"/>
      </a:defRPr>
    </a:lvl7pPr>
    <a:lvl8pPr indent="1125101" defTabSz="321457" latinLnBrk="0">
      <a:defRPr sz="1547">
        <a:latin typeface="Lucida Grande"/>
        <a:ea typeface="Lucida Grande"/>
        <a:cs typeface="Lucida Grande"/>
        <a:sym typeface="Lucida Grande"/>
      </a:defRPr>
    </a:lvl8pPr>
    <a:lvl9pPr indent="1285829" defTabSz="321457" latinLnBrk="0">
      <a:defRPr sz="1547">
        <a:latin typeface="Lucida Grande"/>
        <a:ea typeface="Lucida Grande"/>
        <a:cs typeface="Lucida Grande"/>
        <a:sym typeface="Lucida Grande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 Title with UNIQUE standar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050" y="347872"/>
            <a:ext cx="1983600" cy="644686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-3" y="3504804"/>
            <a:ext cx="9136483" cy="1701376"/>
          </a:xfrm>
          <a:prstGeom prst="rect">
            <a:avLst/>
          </a:prstGeom>
          <a:solidFill>
            <a:srgbClr val="10593F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43510" y="3583872"/>
            <a:ext cx="8692972" cy="519038"/>
          </a:xfrm>
        </p:spPr>
        <p:txBody>
          <a:bodyPr>
            <a:noAutofit/>
          </a:bodyPr>
          <a:lstStyle>
            <a:lvl1pPr marL="0" indent="0">
              <a:buNone/>
              <a:defRPr kumimoji="0" lang="de-DE" sz="3800" b="1" i="0" u="none" strike="noStrike" cap="all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43510" y="4198908"/>
            <a:ext cx="8692972" cy="597407"/>
          </a:xfrm>
        </p:spPr>
        <p:txBody>
          <a:bodyPr anchor="t">
            <a:noAutofit/>
          </a:bodyPr>
          <a:lstStyle>
            <a:lvl1pPr marL="0" indent="0">
              <a:buNone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/>
              <a:t>Subheading</a:t>
            </a:r>
            <a:endParaRPr lang="de-DE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43510" y="4803442"/>
            <a:ext cx="4068335" cy="335569"/>
          </a:xfrm>
          <a:effectLst/>
        </p:spPr>
        <p:txBody>
          <a:bodyPr anchor="t">
            <a:noAutofit/>
          </a:bodyPr>
          <a:lstStyle>
            <a:lvl1pPr marL="0" indent="0">
              <a:buNone/>
              <a:defRPr kumimoji="0" lang="de-DE" sz="1266" b="0" i="0" u="none" strike="noStrike" cap="none" spc="0" normalizeH="0" baseline="0" dirty="0">
                <a:ln w="3175">
                  <a:noFill/>
                </a:ln>
                <a:solidFill>
                  <a:schemeClr val="bg1"/>
                </a:solidFill>
                <a:effectLst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 Light"/>
              </a:defRPr>
            </a:lvl1pPr>
          </a:lstStyle>
          <a:p>
            <a:pPr lvl="0"/>
            <a:r>
              <a:rPr lang="de-DE" dirty="0"/>
              <a:t>Speaker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068147" y="4799398"/>
            <a:ext cx="4068335" cy="335569"/>
          </a:xfrm>
          <a:effectLst/>
        </p:spPr>
        <p:txBody>
          <a:bodyPr anchor="t">
            <a:noAutofit/>
          </a:bodyPr>
          <a:lstStyle>
            <a:lvl1pPr marL="0" indent="0" algn="r">
              <a:buNone/>
              <a:defRPr kumimoji="0" lang="de-DE" sz="1266" b="0" i="0" u="none" strike="noStrike" cap="none" spc="0" normalizeH="0" baseline="0" dirty="0">
                <a:ln w="3175">
                  <a:noFill/>
                </a:ln>
                <a:solidFill>
                  <a:schemeClr val="bg1"/>
                </a:solidFill>
                <a:effectLst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 Light"/>
              </a:defRPr>
            </a:lvl1pPr>
          </a:lstStyle>
          <a:p>
            <a:pPr lvl="0"/>
            <a:r>
              <a:rPr lang="de-DE" dirty="0"/>
              <a:t>Date</a:t>
            </a:r>
          </a:p>
        </p:txBody>
      </p:sp>
      <p:sp>
        <p:nvSpPr>
          <p:cNvPr id="20" name="Shape 3"/>
          <p:cNvSpPr/>
          <p:nvPr userDrawn="1"/>
        </p:nvSpPr>
        <p:spPr>
          <a:xfrm>
            <a:off x="609602" y="6507268"/>
            <a:ext cx="2072683" cy="2084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>
              <a:defRPr sz="1400" b="0">
                <a:solidFill>
                  <a:srgbClr val="00684C"/>
                </a:solidFill>
                <a:effectLst>
                  <a:outerShdw blurRad="12700" dist="38100" dir="2700000" rotWithShape="0">
                    <a:srgbClr val="FFFFFF">
                      <a:alpha val="80000"/>
                    </a:srgbClr>
                  </a:outerShdw>
                </a:effectLst>
              </a:defRPr>
            </a:lvl1pPr>
          </a:lstStyle>
          <a:p>
            <a:r>
              <a:rPr sz="984" dirty="0">
                <a:latin typeface="Calibri Light" panose="020F0302020204030204" pitchFamily="34" charset="0"/>
              </a:rPr>
              <a:t>© UNIQUE forestry </a:t>
            </a:r>
            <a:r>
              <a:rPr lang="de-DE" sz="984" dirty="0" err="1">
                <a:latin typeface="Calibri Light" panose="020F0302020204030204" pitchFamily="34" charset="0"/>
              </a:rPr>
              <a:t>and</a:t>
            </a:r>
            <a:r>
              <a:rPr sz="984" dirty="0">
                <a:latin typeface="Calibri Light" panose="020F0302020204030204" pitchFamily="34" charset="0"/>
              </a:rPr>
              <a:t> land use GmbH</a:t>
            </a:r>
          </a:p>
        </p:txBody>
      </p:sp>
    </p:spTree>
    <p:extLst>
      <p:ext uri="{BB962C8B-B14F-4D97-AF65-F5344CB8AC3E}">
        <p14:creationId xmlns:p14="http://schemas.microsoft.com/office/powerpoint/2010/main" val="151339476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069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6_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-1" y="3474064"/>
            <a:ext cx="6376609" cy="2259910"/>
          </a:xfrm>
          <a:prstGeom prst="rect">
            <a:avLst/>
          </a:prstGeom>
          <a:solidFill>
            <a:srgbClr val="10593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Shape 24"/>
          <p:cNvSpPr/>
          <p:nvPr userDrawn="1"/>
        </p:nvSpPr>
        <p:spPr>
          <a:xfrm>
            <a:off x="418289" y="3711265"/>
            <a:ext cx="5603132" cy="18501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>
              <a:lnSpc>
                <a:spcPct val="110000"/>
              </a:lnSpc>
              <a:defRPr sz="2000" b="0"/>
            </a:pPr>
            <a:r>
              <a:rPr lang="de-DE" sz="1800" b="1" dirty="0">
                <a:solidFill>
                  <a:schemeClr val="bg1"/>
                </a:solidFill>
                <a:latin typeface="Calibri Light" panose="020F0302020204030204" pitchFamily="34" charset="0"/>
              </a:rPr>
              <a:t>Contact: </a:t>
            </a:r>
          </a:p>
          <a:p>
            <a:pPr>
              <a:lnSpc>
                <a:spcPct val="110000"/>
              </a:lnSpc>
              <a:defRPr sz="2000" b="0"/>
            </a:pPr>
            <a:r>
              <a:rPr lang="de-DE" sz="1800" b="1" dirty="0">
                <a:solidFill>
                  <a:schemeClr val="bg1"/>
                </a:solidFill>
                <a:latin typeface="Calibri Light" panose="020F0302020204030204" pitchFamily="34" charset="0"/>
              </a:rPr>
              <a:t>Till Pistorius and Johannes Mössinger</a:t>
            </a:r>
          </a:p>
          <a:p>
            <a:pPr>
              <a:lnSpc>
                <a:spcPct val="110000"/>
              </a:lnSpc>
              <a:defRPr sz="2000" b="0"/>
            </a:pPr>
            <a:r>
              <a:rPr lang="de-DE" sz="1400" b="0" dirty="0">
                <a:solidFill>
                  <a:prstClr val="white"/>
                </a:solidFill>
                <a:latin typeface="Calibri Light" panose="020F0302020204030204" pitchFamily="34" charset="0"/>
              </a:rPr>
              <a:t>Till.Pistorius@unique-landuse.de &amp; Johannes.Moessinger@unique-landuse.de</a:t>
            </a:r>
            <a:br>
              <a:rPr lang="de-DE" sz="1600" b="0" dirty="0">
                <a:solidFill>
                  <a:prstClr val="white"/>
                </a:solidFill>
                <a:latin typeface="Calibri Light" panose="020F0302020204030204" pitchFamily="34" charset="0"/>
              </a:rPr>
            </a:br>
            <a:r>
              <a:rPr lang="de-DE" sz="1400" b="0" dirty="0">
                <a:solidFill>
                  <a:prstClr val="white"/>
                </a:solidFill>
                <a:latin typeface="Calibri Light" panose="020F0302020204030204" pitchFamily="34" charset="0"/>
              </a:rPr>
              <a:t>www.unique-landuse.de </a:t>
            </a:r>
            <a:r>
              <a:rPr lang="de-DE" sz="1400" b="0" dirty="0">
                <a:solidFill>
                  <a:prstClr val="white"/>
                </a:solidFill>
                <a:latin typeface="Calibri Light" panose="020F0302020204030204" pitchFamily="34" charset="0"/>
                <a:sym typeface="Wingdings" panose="05000000000000000000" pitchFamily="2" charset="2"/>
              </a:rPr>
              <a:t> &amp; </a:t>
            </a:r>
            <a:r>
              <a:rPr lang="de-DE" sz="1400" b="0" dirty="0">
                <a:solidFill>
                  <a:prstClr val="white"/>
                </a:solidFill>
                <a:latin typeface="Calibri Light" panose="020F0302020204030204" pitchFamily="34" charset="0"/>
              </a:rPr>
              <a:t>www.digital.unique-landuse.de</a:t>
            </a:r>
            <a:endParaRPr lang="de-DE" sz="1600" b="0" dirty="0">
              <a:solidFill>
                <a:prstClr val="white"/>
              </a:solidFill>
              <a:latin typeface="Calibri Light" panose="020F0302020204030204" pitchFamily="34" charset="0"/>
            </a:endParaRPr>
          </a:p>
          <a:p>
            <a:pPr>
              <a:lnSpc>
                <a:spcPct val="110000"/>
              </a:lnSpc>
              <a:defRPr sz="2000" b="0"/>
            </a:pPr>
            <a:r>
              <a:rPr lang="de-DE" sz="1800" b="1" dirty="0">
                <a:solidFill>
                  <a:prstClr val="white"/>
                </a:solidFill>
                <a:latin typeface="Calibri Light" panose="020F0302020204030204" pitchFamily="34" charset="0"/>
              </a:rPr>
              <a:t>Julian Smykalla</a:t>
            </a:r>
          </a:p>
          <a:p>
            <a:pPr>
              <a:lnSpc>
                <a:spcPct val="110000"/>
              </a:lnSpc>
              <a:defRPr sz="2000" b="0"/>
            </a:pPr>
            <a:r>
              <a:rPr lang="de-DE" sz="1400" b="0" dirty="0">
                <a:solidFill>
                  <a:prstClr val="white"/>
                </a:solidFill>
                <a:latin typeface="Calibri Light" panose="020F0302020204030204" pitchFamily="34" charset="0"/>
              </a:rPr>
              <a:t>j.smykalla@finance-in-motion.com</a:t>
            </a:r>
          </a:p>
          <a:p>
            <a:pPr>
              <a:lnSpc>
                <a:spcPct val="110000"/>
              </a:lnSpc>
              <a:defRPr sz="2000" b="0"/>
            </a:pPr>
            <a:r>
              <a:rPr lang="de-DE" sz="1400" b="0" dirty="0">
                <a:solidFill>
                  <a:prstClr val="white"/>
                </a:solidFill>
                <a:latin typeface="Calibri Light" panose="020F0302020204030204" pitchFamily="34" charset="0"/>
              </a:rPr>
              <a:t>www.finance-in-motion.com</a:t>
            </a:r>
          </a:p>
        </p:txBody>
      </p:sp>
      <p:sp>
        <p:nvSpPr>
          <p:cNvPr id="12" name="Shape 3"/>
          <p:cNvSpPr/>
          <p:nvPr userDrawn="1"/>
        </p:nvSpPr>
        <p:spPr>
          <a:xfrm>
            <a:off x="609602" y="6507268"/>
            <a:ext cx="2072683" cy="2084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>
              <a:defRPr sz="1400" b="0">
                <a:solidFill>
                  <a:srgbClr val="00684C"/>
                </a:solidFill>
                <a:effectLst>
                  <a:outerShdw blurRad="12700" dist="38100" dir="2700000" rotWithShape="0">
                    <a:srgbClr val="FFFFFF">
                      <a:alpha val="80000"/>
                    </a:srgbClr>
                  </a:outerShdw>
                </a:effectLst>
              </a:defRPr>
            </a:lvl1pPr>
          </a:lstStyle>
          <a:p>
            <a:r>
              <a:rPr sz="984" dirty="0">
                <a:latin typeface="Calibri Light" panose="020F0302020204030204" pitchFamily="34" charset="0"/>
              </a:rPr>
              <a:t>© UNIQUE forestry </a:t>
            </a:r>
            <a:r>
              <a:rPr lang="de-DE" sz="984" dirty="0" err="1">
                <a:latin typeface="Calibri Light" panose="020F0302020204030204" pitchFamily="34" charset="0"/>
              </a:rPr>
              <a:t>and</a:t>
            </a:r>
            <a:r>
              <a:rPr sz="984" dirty="0">
                <a:latin typeface="Calibri Light" panose="020F0302020204030204" pitchFamily="34" charset="0"/>
              </a:rPr>
              <a:t> land use GmbH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DCE07A8-A17C-4E80-BDAC-F3EECF8374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050" y="347872"/>
            <a:ext cx="1983600" cy="644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48199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484" userDrawn="1">
          <p15:clr>
            <a:srgbClr val="FBAE40"/>
          </p15:clr>
        </p15:guide>
        <p15:guide id="2" orient="horz" pos="3786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 Title with UNIQUE standar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69" t="33097" r="24855" b="76"/>
          <a:stretch/>
        </p:blipFill>
        <p:spPr>
          <a:xfrm>
            <a:off x="0" y="2"/>
            <a:ext cx="12192000" cy="6886575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-3" y="3497602"/>
            <a:ext cx="9136483" cy="1708578"/>
          </a:xfrm>
          <a:prstGeom prst="rect">
            <a:avLst/>
          </a:prstGeom>
          <a:solidFill>
            <a:srgbClr val="10593F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43510" y="3581678"/>
            <a:ext cx="8692972" cy="521235"/>
          </a:xfrm>
        </p:spPr>
        <p:txBody>
          <a:bodyPr>
            <a:noAutofit/>
          </a:bodyPr>
          <a:lstStyle>
            <a:lvl1pPr marL="0" indent="0">
              <a:buNone/>
              <a:defRPr kumimoji="0" lang="de-DE" sz="3800" b="1" i="0" u="none" strike="noStrike" cap="all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43510" y="4196377"/>
            <a:ext cx="8692972" cy="599936"/>
          </a:xfrm>
        </p:spPr>
        <p:txBody>
          <a:bodyPr anchor="t">
            <a:noAutofit/>
          </a:bodyPr>
          <a:lstStyle>
            <a:lvl1pPr marL="0" indent="0">
              <a:buNone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/>
              <a:t>Subheading</a:t>
            </a:r>
            <a:endParaRPr lang="de-DE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43510" y="4802019"/>
            <a:ext cx="4068335" cy="336990"/>
          </a:xfrm>
          <a:effectLst/>
        </p:spPr>
        <p:txBody>
          <a:bodyPr anchor="t">
            <a:noAutofit/>
          </a:bodyPr>
          <a:lstStyle>
            <a:lvl1pPr marL="0" indent="0">
              <a:buNone/>
              <a:defRPr kumimoji="0" lang="de-DE" sz="1266" b="0" i="0" u="none" strike="noStrike" cap="none" spc="0" normalizeH="0" baseline="0" dirty="0">
                <a:ln w="3175">
                  <a:noFill/>
                </a:ln>
                <a:solidFill>
                  <a:schemeClr val="bg1"/>
                </a:solidFill>
                <a:effectLst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 Light"/>
              </a:defRPr>
            </a:lvl1pPr>
          </a:lstStyle>
          <a:p>
            <a:pPr lvl="0"/>
            <a:r>
              <a:rPr lang="de-DE" dirty="0"/>
              <a:t>Speaker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068147" y="4797975"/>
            <a:ext cx="4068335" cy="336990"/>
          </a:xfrm>
          <a:effectLst/>
        </p:spPr>
        <p:txBody>
          <a:bodyPr anchor="t">
            <a:noAutofit/>
          </a:bodyPr>
          <a:lstStyle>
            <a:lvl1pPr marL="0" indent="0" algn="r">
              <a:buNone/>
              <a:defRPr kumimoji="0" lang="de-DE" sz="1266" b="0" i="0" u="none" strike="noStrike" cap="none" spc="0" normalizeH="0" baseline="0" dirty="0">
                <a:ln w="3175">
                  <a:noFill/>
                </a:ln>
                <a:solidFill>
                  <a:schemeClr val="bg1"/>
                </a:solidFill>
                <a:effectLst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 Light"/>
              </a:defRPr>
            </a:lvl1pPr>
          </a:lstStyle>
          <a:p>
            <a:pPr lvl="0"/>
            <a:r>
              <a:rPr lang="de-DE" dirty="0"/>
              <a:t>Date</a:t>
            </a:r>
          </a:p>
        </p:txBody>
      </p:sp>
      <p:sp>
        <p:nvSpPr>
          <p:cNvPr id="20" name="Shape 3"/>
          <p:cNvSpPr/>
          <p:nvPr userDrawn="1"/>
        </p:nvSpPr>
        <p:spPr>
          <a:xfrm>
            <a:off x="609602" y="6507268"/>
            <a:ext cx="2072683" cy="2084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>
              <a:defRPr sz="1400" b="0">
                <a:solidFill>
                  <a:srgbClr val="00684C"/>
                </a:solidFill>
                <a:effectLst>
                  <a:outerShdw blurRad="12700" dist="38100" dir="2700000" rotWithShape="0">
                    <a:srgbClr val="FFFFFF">
                      <a:alpha val="80000"/>
                    </a:srgbClr>
                  </a:outerShdw>
                </a:effectLst>
              </a:defRPr>
            </a:lvl1pPr>
          </a:lstStyle>
          <a:p>
            <a:r>
              <a:rPr sz="984" dirty="0">
                <a:latin typeface="Calibri Light" panose="020F0302020204030204" pitchFamily="34" charset="0"/>
              </a:rPr>
              <a:t>© UNIQUE forestry </a:t>
            </a:r>
            <a:r>
              <a:rPr lang="de-DE" sz="984" dirty="0" err="1">
                <a:latin typeface="Calibri Light" panose="020F0302020204030204" pitchFamily="34" charset="0"/>
              </a:rPr>
              <a:t>and</a:t>
            </a:r>
            <a:r>
              <a:rPr sz="984" dirty="0">
                <a:latin typeface="Calibri Light" panose="020F0302020204030204" pitchFamily="34" charset="0"/>
              </a:rPr>
              <a:t> land use GmbH</a:t>
            </a:r>
          </a:p>
        </p:txBody>
      </p:sp>
      <p:sp>
        <p:nvSpPr>
          <p:cNvPr id="3" name="Rechteck 2"/>
          <p:cNvSpPr/>
          <p:nvPr userDrawn="1"/>
        </p:nvSpPr>
        <p:spPr>
          <a:xfrm>
            <a:off x="9791699" y="376038"/>
            <a:ext cx="2044700" cy="471924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pic>
        <p:nvPicPr>
          <p:cNvPr id="19" name="2015 02 19 Logo UNIQU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8723" y="344162"/>
            <a:ext cx="1705352" cy="88075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158581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069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 Title with UNIQUE standar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-3" y="3504804"/>
            <a:ext cx="9136483" cy="1701376"/>
          </a:xfrm>
          <a:prstGeom prst="rect">
            <a:avLst/>
          </a:prstGeom>
          <a:solidFill>
            <a:srgbClr val="10593F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43510" y="3583872"/>
            <a:ext cx="8692972" cy="519038"/>
          </a:xfrm>
        </p:spPr>
        <p:txBody>
          <a:bodyPr>
            <a:noAutofit/>
          </a:bodyPr>
          <a:lstStyle>
            <a:lvl1pPr marL="0" indent="0">
              <a:buNone/>
              <a:defRPr kumimoji="0" lang="de-DE" sz="3800" b="1" i="0" u="none" strike="noStrike" cap="all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43510" y="4198908"/>
            <a:ext cx="8692972" cy="597407"/>
          </a:xfrm>
        </p:spPr>
        <p:txBody>
          <a:bodyPr anchor="t">
            <a:noAutofit/>
          </a:bodyPr>
          <a:lstStyle>
            <a:lvl1pPr marL="0" indent="0">
              <a:buNone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/>
              <a:t>Subheading</a:t>
            </a:r>
            <a:endParaRPr lang="de-DE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43510" y="4803442"/>
            <a:ext cx="4068335" cy="335569"/>
          </a:xfrm>
          <a:effectLst/>
        </p:spPr>
        <p:txBody>
          <a:bodyPr anchor="t">
            <a:noAutofit/>
          </a:bodyPr>
          <a:lstStyle>
            <a:lvl1pPr marL="0" indent="0">
              <a:buNone/>
              <a:defRPr kumimoji="0" lang="de-DE" sz="1266" b="0" i="0" u="none" strike="noStrike" cap="none" spc="0" normalizeH="0" baseline="0" dirty="0">
                <a:ln w="3175">
                  <a:noFill/>
                </a:ln>
                <a:solidFill>
                  <a:schemeClr val="bg1"/>
                </a:solidFill>
                <a:effectLst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 Light"/>
              </a:defRPr>
            </a:lvl1pPr>
          </a:lstStyle>
          <a:p>
            <a:pPr lvl="0"/>
            <a:r>
              <a:rPr lang="de-DE" dirty="0"/>
              <a:t>Speaker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068147" y="4799398"/>
            <a:ext cx="4068335" cy="335569"/>
          </a:xfrm>
          <a:effectLst/>
        </p:spPr>
        <p:txBody>
          <a:bodyPr anchor="t">
            <a:noAutofit/>
          </a:bodyPr>
          <a:lstStyle>
            <a:lvl1pPr marL="0" indent="0" algn="r">
              <a:buNone/>
              <a:defRPr kumimoji="0" lang="de-DE" sz="1266" b="0" i="0" u="none" strike="noStrike" cap="none" spc="0" normalizeH="0" baseline="0" dirty="0">
                <a:ln w="3175">
                  <a:noFill/>
                </a:ln>
                <a:solidFill>
                  <a:schemeClr val="bg1"/>
                </a:solidFill>
                <a:effectLst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 Light"/>
              </a:defRPr>
            </a:lvl1pPr>
          </a:lstStyle>
          <a:p>
            <a:pPr lvl="0"/>
            <a:r>
              <a:rPr lang="de-DE" dirty="0"/>
              <a:t>Date</a:t>
            </a:r>
          </a:p>
        </p:txBody>
      </p:sp>
      <p:sp>
        <p:nvSpPr>
          <p:cNvPr id="20" name="Shape 3"/>
          <p:cNvSpPr/>
          <p:nvPr userDrawn="1"/>
        </p:nvSpPr>
        <p:spPr>
          <a:xfrm>
            <a:off x="609602" y="6507268"/>
            <a:ext cx="2072683" cy="2084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>
              <a:defRPr sz="1400" b="0">
                <a:solidFill>
                  <a:srgbClr val="00684C"/>
                </a:solidFill>
                <a:effectLst>
                  <a:outerShdw blurRad="12700" dist="38100" dir="2700000" rotWithShape="0">
                    <a:srgbClr val="FFFFFF">
                      <a:alpha val="80000"/>
                    </a:srgbClr>
                  </a:outerShdw>
                </a:effectLst>
              </a:defRPr>
            </a:lvl1pPr>
          </a:lstStyle>
          <a:p>
            <a:r>
              <a:rPr sz="984" dirty="0">
                <a:latin typeface="Calibri Light" panose="020F0302020204030204" pitchFamily="34" charset="0"/>
              </a:rPr>
              <a:t>© UNIQUE forestry </a:t>
            </a:r>
            <a:r>
              <a:rPr lang="de-DE" sz="984" dirty="0" err="1">
                <a:latin typeface="Calibri Light" panose="020F0302020204030204" pitchFamily="34" charset="0"/>
              </a:rPr>
              <a:t>and</a:t>
            </a:r>
            <a:r>
              <a:rPr sz="984" dirty="0">
                <a:latin typeface="Calibri Light" panose="020F0302020204030204" pitchFamily="34" charset="0"/>
              </a:rPr>
              <a:t> land use GmbH</a:t>
            </a:r>
          </a:p>
        </p:txBody>
      </p:sp>
      <p:sp>
        <p:nvSpPr>
          <p:cNvPr id="3" name="Rechteck 2"/>
          <p:cNvSpPr/>
          <p:nvPr userDrawn="1"/>
        </p:nvSpPr>
        <p:spPr>
          <a:xfrm>
            <a:off x="9791699" y="376038"/>
            <a:ext cx="2044700" cy="471924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pic>
        <p:nvPicPr>
          <p:cNvPr id="19" name="2015 02 19 Logo UNIQU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8723" y="347872"/>
            <a:ext cx="1705352" cy="87703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690909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069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13639" y="1678785"/>
            <a:ext cx="7492912" cy="4562791"/>
          </a:xfrm>
        </p:spPr>
        <p:txBody>
          <a:bodyPr wrap="square" anchor="t" anchorCtr="0">
            <a:normAutofit/>
          </a:bodyPr>
          <a:lstStyle>
            <a:lvl1pPr marL="216000" indent="-360000">
              <a:spcBef>
                <a:spcPts val="1200"/>
              </a:spcBef>
              <a:buSzPct val="100000"/>
              <a:buFont typeface="+mj-lt"/>
              <a:buAutoNum type="arabicPeriod"/>
              <a:defRPr lang="de-DE" sz="2800" b="0" i="0" u="none" strike="noStrike" cap="none" spc="0" baseline="0" dirty="0" smtClean="0">
                <a:ln>
                  <a:noFill/>
                </a:ln>
                <a:solidFill>
                  <a:schemeClr val="tx1"/>
                </a:solidFill>
                <a:uFillTx/>
                <a:latin typeface="+mj-lt"/>
                <a:ea typeface="Calibri Light" panose="020F0302020204030204" pitchFamily="34" charset="0"/>
                <a:cs typeface="Calibri Light" panose="020F0302020204030204" pitchFamily="34" charset="0"/>
                <a:sym typeface="Helvetica Light"/>
              </a:defRPr>
            </a:lvl1pPr>
            <a:lvl2pPr marL="504000" indent="-144000">
              <a:spcBef>
                <a:spcPts val="0"/>
              </a:spcBef>
              <a:defRPr/>
            </a:lvl2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topic</a:t>
            </a:r>
            <a:endParaRPr lang="de-DE" dirty="0"/>
          </a:p>
          <a:p>
            <a:pPr lvl="1"/>
            <a:r>
              <a:rPr lang="de-DE" dirty="0"/>
              <a:t>Explanation</a:t>
            </a:r>
          </a:p>
          <a:p>
            <a:pPr marL="248907" marR="0" lvl="0" indent="-360000" algn="l" defTabSz="410751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rgbClr val="00684C"/>
              </a:buClr>
              <a:buSzPct val="100000"/>
              <a:buFont typeface="+mj-lt"/>
              <a:buAutoNum type="arabicPeriod"/>
              <a:tabLst/>
            </a:pPr>
            <a:r>
              <a:rPr lang="de-DE" dirty="0"/>
              <a:t>Second </a:t>
            </a:r>
            <a:r>
              <a:rPr lang="de-DE" dirty="0" err="1"/>
              <a:t>topic</a:t>
            </a:r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15" name="Rechteck 14"/>
          <p:cNvSpPr/>
          <p:nvPr userDrawn="1"/>
        </p:nvSpPr>
        <p:spPr>
          <a:xfrm>
            <a:off x="0" y="6375530"/>
            <a:ext cx="3133392" cy="471924"/>
          </a:xfrm>
          <a:prstGeom prst="rect">
            <a:avLst/>
          </a:prstGeom>
          <a:solidFill>
            <a:srgbClr val="FFFFFF">
              <a:alpha val="80000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05412" y="400938"/>
            <a:ext cx="7601139" cy="519038"/>
          </a:xfrm>
        </p:spPr>
        <p:txBody>
          <a:bodyPr>
            <a:noAutofit/>
          </a:bodyPr>
          <a:lstStyle>
            <a:lvl1pPr marL="0" indent="0">
              <a:buNone/>
              <a:defRPr kumimoji="0" lang="de-DE" sz="2800" b="0" i="0" u="none" strike="noStrike" kern="1200" cap="none" spc="110" normalizeH="0" baseline="0" dirty="0">
                <a:ln>
                  <a:noFill/>
                </a:ln>
                <a:solidFill>
                  <a:srgbClr val="10593F"/>
                </a:solidFill>
                <a:effectLst/>
                <a:uLnTx/>
                <a:uFillTx/>
                <a:latin typeface="Calibri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Agenda</a:t>
            </a:r>
          </a:p>
        </p:txBody>
      </p:sp>
      <p:sp>
        <p:nvSpPr>
          <p:cNvPr id="14" name="Shape 13"/>
          <p:cNvSpPr>
            <a:spLocks noGrp="1"/>
          </p:cNvSpPr>
          <p:nvPr>
            <p:ph type="sldNum" sz="quarter" idx="2"/>
          </p:nvPr>
        </p:nvSpPr>
        <p:spPr>
          <a:xfrm>
            <a:off x="6090050" y="6497442"/>
            <a:ext cx="339837" cy="23891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 dirty="0"/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12"/>
          </p:nvPr>
        </p:nvSpPr>
        <p:spPr>
          <a:xfrm>
            <a:off x="8302173" y="3"/>
            <a:ext cx="3889827" cy="6857999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6860577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 Chapter Heading - UNIQUE standar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8"/>
          <p:cNvSpPr>
            <a:spLocks noGrp="1"/>
          </p:cNvSpPr>
          <p:nvPr>
            <p:ph type="pic" sz="quarter" idx="12" hasCustomPrompt="1"/>
          </p:nvPr>
        </p:nvSpPr>
        <p:spPr>
          <a:xfrm>
            <a:off x="4861832" y="-121645"/>
            <a:ext cx="3889827" cy="685799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 dirty="0"/>
              <a:t>Click on </a:t>
            </a:r>
            <a:r>
              <a:rPr lang="de-DE" dirty="0" err="1"/>
              <a:t>symbo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9563" y="5972212"/>
            <a:ext cx="1983600" cy="644686"/>
          </a:xfrm>
          <a:prstGeom prst="rect">
            <a:avLst/>
          </a:prstGeom>
        </p:spPr>
      </p:pic>
      <p:sp>
        <p:nvSpPr>
          <p:cNvPr id="13" name="Shape 64"/>
          <p:cNvSpPr/>
          <p:nvPr userDrawn="1"/>
        </p:nvSpPr>
        <p:spPr>
          <a:xfrm>
            <a:off x="1" y="805016"/>
            <a:ext cx="2888755" cy="881525"/>
          </a:xfrm>
          <a:prstGeom prst="rect">
            <a:avLst/>
          </a:prstGeom>
          <a:solidFill>
            <a:srgbClr val="FFFFFF">
              <a:alpha val="85000"/>
            </a:srgbClr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 algn="ctr" defTabSz="410751">
              <a:lnSpc>
                <a:spcPct val="100000"/>
              </a:lnSpc>
              <a:defRPr b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186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13639" y="2647953"/>
            <a:ext cx="7492912" cy="3593623"/>
          </a:xfrm>
        </p:spPr>
        <p:txBody>
          <a:bodyPr wrap="square" anchor="t" anchorCtr="0">
            <a:normAutofit/>
          </a:bodyPr>
          <a:lstStyle>
            <a:lvl1pPr marL="0" indent="0">
              <a:spcBef>
                <a:spcPts val="1055"/>
              </a:spcBef>
              <a:buFont typeface="+mj-lt"/>
              <a:buNone/>
              <a:defRPr sz="2000" b="1" baseline="0">
                <a:solidFill>
                  <a:schemeClr val="tx1"/>
                </a:solidFill>
                <a:latin typeface="+mn-lt"/>
              </a:defRPr>
            </a:lvl1pPr>
            <a:lvl2pPr marL="379498" indent="-122779">
              <a:defRPr/>
            </a:lvl2pPr>
          </a:lstStyle>
          <a:p>
            <a:pPr lvl="0"/>
            <a:r>
              <a:rPr lang="de-DE" dirty="0" err="1"/>
              <a:t>Aditional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0"/>
            <a:endParaRPr lang="de-DE" dirty="0"/>
          </a:p>
        </p:txBody>
      </p:sp>
      <p:sp>
        <p:nvSpPr>
          <p:cNvPr id="21" name="Rechteck 20"/>
          <p:cNvSpPr/>
          <p:nvPr userDrawn="1"/>
        </p:nvSpPr>
        <p:spPr>
          <a:xfrm>
            <a:off x="-1" y="1276765"/>
            <a:ext cx="8206553" cy="819546"/>
          </a:xfrm>
          <a:prstGeom prst="rect">
            <a:avLst/>
          </a:prstGeom>
          <a:solidFill>
            <a:srgbClr val="10593F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545110" y="1422511"/>
            <a:ext cx="8692972" cy="250019"/>
          </a:xfrm>
        </p:spPr>
        <p:txBody>
          <a:bodyPr>
            <a:noAutofit/>
          </a:bodyPr>
          <a:lstStyle>
            <a:lvl1pPr marL="0" indent="0">
              <a:buNone/>
              <a:defRPr kumimoji="0" lang="de-DE" sz="2800" b="1" i="0" u="none" strike="noStrike" cap="all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/>
              <a:t>Subheading</a:t>
            </a:r>
            <a:endParaRPr lang="de-DE" dirty="0"/>
          </a:p>
        </p:txBody>
      </p:sp>
      <p:sp>
        <p:nvSpPr>
          <p:cNvPr id="8" name="Shape 13"/>
          <p:cNvSpPr>
            <a:spLocks noGrp="1"/>
          </p:cNvSpPr>
          <p:nvPr>
            <p:ph type="sldNum" sz="quarter" idx="2"/>
          </p:nvPr>
        </p:nvSpPr>
        <p:spPr>
          <a:xfrm>
            <a:off x="6090050" y="6497442"/>
            <a:ext cx="339837" cy="23891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7359904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182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 Standard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6" y="253791"/>
            <a:ext cx="10858732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0" i="0" u="none" strike="noStrike" kern="1200" cap="none" spc="110" normalizeH="0" baseline="0" dirty="0">
                <a:ln>
                  <a:noFill/>
                </a:ln>
                <a:solidFill>
                  <a:srgbClr val="10593F"/>
                </a:solidFill>
                <a:effectLst/>
                <a:uLnTx/>
                <a:uFillTx/>
                <a:latin typeface="Calibri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/>
              <a:t>Heading</a:t>
            </a:r>
            <a:r>
              <a:rPr lang="de-DE" dirty="0"/>
              <a:t> – Text</a:t>
            </a:r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50" y="6497442"/>
            <a:ext cx="339837" cy="23891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95030" y="6212247"/>
            <a:ext cx="4068335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/>
              <a:t>Source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70983" y="768611"/>
            <a:ext cx="10858732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0" i="0" u="none" strike="noStrike" cap="none" spc="10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/>
              <a:t>Subhead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6"/>
          </p:nvPr>
        </p:nvSpPr>
        <p:spPr>
          <a:xfrm>
            <a:off x="670986" y="1276945"/>
            <a:ext cx="10858732" cy="491132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/>
            </a:lvl1pPr>
            <a:lvl2pPr marL="265113" indent="-265113" defTabSz="126128">
              <a:spcBef>
                <a:spcPts val="0"/>
              </a:spcBef>
              <a:defRPr/>
            </a:lvl2pPr>
            <a:lvl3pPr marL="449263" indent="-184150">
              <a:spcBef>
                <a:spcPts val="0"/>
              </a:spcBef>
              <a:tabLst>
                <a:tab pos="361950" algn="l"/>
              </a:tabLst>
              <a:defRPr/>
            </a:lvl3pPr>
            <a:lvl4pPr marL="627063" indent="-177800">
              <a:defRPr sz="1600"/>
            </a:lvl4pPr>
            <a:lvl5pPr marL="803275" indent="-176213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9640980"/>
      </p:ext>
    </p:extLst>
  </p:cSld>
  <p:clrMapOvr>
    <a:masterClrMapping/>
  </p:clrMapOvr>
  <p:transition spd="med"/>
  <p:hf hdr="0" ftr="0"/>
  <p:extLst>
    <p:ext uri="{DCECCB84-F9BA-43D5-87BE-67443E8EF086}">
      <p15:sldGuideLst xmlns:p15="http://schemas.microsoft.com/office/powerpoint/2012/main">
        <p15:guide id="1" orient="horz" pos="804" userDrawn="1">
          <p15:clr>
            <a:srgbClr val="FBAE40"/>
          </p15:clr>
        </p15:guide>
        <p15:guide id="2" orient="horz" pos="3898" userDrawn="1">
          <p15:clr>
            <a:srgbClr val="FBAE40"/>
          </p15:clr>
        </p15:guide>
        <p15:guide id="3" pos="423" userDrawn="1">
          <p15:clr>
            <a:srgbClr val="FBAE40"/>
          </p15:clr>
        </p15:guide>
        <p15:guide id="4" pos="7263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1 Standard - Tex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6" y="253791"/>
            <a:ext cx="10858732" cy="451654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800" b="0" i="0" u="none" strike="noStrike" kern="1200" cap="none" spc="110" normalizeH="0" baseline="0" dirty="0">
                <a:ln>
                  <a:noFill/>
                </a:ln>
                <a:solidFill>
                  <a:srgbClr val="10593F"/>
                </a:solidFill>
                <a:effectLst/>
                <a:uLnTx/>
                <a:uFillTx/>
                <a:latin typeface="Calibri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/>
              <a:t>Heading</a:t>
            </a:r>
            <a:r>
              <a:rPr lang="de-DE" dirty="0"/>
              <a:t> – Text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95030" y="6212247"/>
            <a:ext cx="4068335" cy="21713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kumimoji="0" lang="de-DE" sz="1125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/>
              <a:t>Source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70983" y="768611"/>
            <a:ext cx="10858732" cy="345755"/>
          </a:xfrm>
        </p:spPr>
        <p:txBody>
          <a:bodyPr>
            <a:noAutofit/>
          </a:bodyPr>
          <a:lstStyle>
            <a:lvl1pPr marL="0" marR="0" indent="0" algn="l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2000" b="0" i="0" u="none" strike="noStrike" cap="none" spc="10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Calibri Light"/>
                <a:cs typeface="Calibri Light"/>
                <a:sym typeface="Calibri Light"/>
              </a:defRPr>
            </a:lvl1pPr>
          </a:lstStyle>
          <a:p>
            <a:pPr lvl="0"/>
            <a:r>
              <a:rPr lang="de-DE" dirty="0" err="1"/>
              <a:t>Subhead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6"/>
          </p:nvPr>
        </p:nvSpPr>
        <p:spPr>
          <a:xfrm>
            <a:off x="670987" y="1276945"/>
            <a:ext cx="5021893" cy="491132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/>
            </a:lvl1pPr>
            <a:lvl2pPr marL="265113" indent="-265113" defTabSz="126128">
              <a:spcBef>
                <a:spcPts val="0"/>
              </a:spcBef>
              <a:defRPr/>
            </a:lvl2pPr>
            <a:lvl3pPr marL="449263" indent="-184150">
              <a:spcBef>
                <a:spcPts val="0"/>
              </a:spcBef>
              <a:tabLst>
                <a:tab pos="361950" algn="l"/>
              </a:tabLst>
              <a:defRPr lang="de-DE" sz="2000" b="0" i="0" u="none" strike="noStrike" cap="none" spc="0" baseline="0" dirty="0" smtClean="0">
                <a:ln>
                  <a:noFill/>
                </a:ln>
                <a:solidFill>
                  <a:srgbClr val="000000"/>
                </a:solidFill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Helvetica Light"/>
              </a:defRPr>
            </a:lvl3pPr>
            <a:lvl4pPr marL="627063" indent="-177800">
              <a:defRPr sz="1600"/>
            </a:lvl4pPr>
            <a:lvl5pPr marL="803275" indent="-176213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Inhaltsplatzhalter 4"/>
          <p:cNvSpPr>
            <a:spLocks noGrp="1"/>
          </p:cNvSpPr>
          <p:nvPr>
            <p:ph sz="quarter" idx="17"/>
          </p:nvPr>
        </p:nvSpPr>
        <p:spPr>
          <a:xfrm>
            <a:off x="6507592" y="1283074"/>
            <a:ext cx="5021893" cy="4911329"/>
          </a:xfr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65113" indent="-265113" defTabSz="126128">
              <a:spcBef>
                <a:spcPts val="0"/>
              </a:spcBef>
              <a:defRPr/>
            </a:lvl2pPr>
            <a:lvl3pPr marL="449263" indent="-184150">
              <a:spcBef>
                <a:spcPts val="0"/>
              </a:spcBef>
              <a:tabLst>
                <a:tab pos="361950" algn="l"/>
              </a:tabLst>
              <a:defRPr lang="de-DE" sz="2000" b="0" i="0" u="none" strike="noStrike" cap="none" spc="0" baseline="0" dirty="0" smtClean="0">
                <a:ln>
                  <a:noFill/>
                </a:ln>
                <a:solidFill>
                  <a:srgbClr val="000000"/>
                </a:solidFill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Helvetica Light"/>
              </a:defRPr>
            </a:lvl3pPr>
            <a:lvl4pPr marL="627063" indent="-177800">
              <a:defRPr sz="1600"/>
            </a:lvl4pPr>
            <a:lvl5pPr marL="803275" indent="-176213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6090050" y="6497442"/>
            <a:ext cx="339837" cy="23891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63283240"/>
      </p:ext>
    </p:extLst>
  </p:cSld>
  <p:clrMapOvr>
    <a:masterClrMapping/>
  </p:clrMapOvr>
  <p:transition spd="med"/>
  <p:hf hdr="0" ftr="0"/>
  <p:extLst>
    <p:ext uri="{DCECCB84-F9BA-43D5-87BE-67443E8EF086}">
      <p15:sldGuideLst xmlns:p15="http://schemas.microsoft.com/office/powerpoint/2012/main">
        <p15:guide id="1" orient="horz" pos="804" userDrawn="1">
          <p15:clr>
            <a:srgbClr val="FBAE40"/>
          </p15:clr>
        </p15:guide>
        <p15:guide id="2" orient="horz" pos="3898" userDrawn="1">
          <p15:clr>
            <a:srgbClr val="FBAE40"/>
          </p15:clr>
        </p15:guide>
        <p15:guide id="3" pos="423" userDrawn="1">
          <p15:clr>
            <a:srgbClr val="FBAE40"/>
          </p15:clr>
        </p15:guide>
        <p15:guide id="4" pos="726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Empty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1994079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Empty Slide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4843818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A9BC6BD-3DC9-4F47-8E38-EA7DE34FE9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870779484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95" imgH="394" progId="TCLayout.ActiveDocument.1">
                  <p:embed/>
                </p:oleObj>
              </mc:Choice>
              <mc:Fallback>
                <p:oleObj name="think-cell Folie" r:id="rId1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892971" y="312539"/>
            <a:ext cx="10406063" cy="14953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50800" tIns="50800" rIns="50800" bIns="50800" anchor="t">
            <a:noAutofit/>
          </a:bodyPr>
          <a:lstStyle/>
          <a:p>
            <a:r>
              <a:rPr dirty="0" err="1"/>
              <a:t>Titeltext</a:t>
            </a:r>
            <a:endParaRPr dirty="0"/>
          </a:p>
        </p:txBody>
      </p:sp>
      <p:sp>
        <p:nvSpPr>
          <p:cNvPr id="6" name="Shape 6"/>
          <p:cNvSpPr>
            <a:spLocks noGrp="1"/>
          </p:cNvSpPr>
          <p:nvPr>
            <p:ph type="body" idx="1"/>
          </p:nvPr>
        </p:nvSpPr>
        <p:spPr>
          <a:xfrm>
            <a:off x="892971" y="1830589"/>
            <a:ext cx="10406063" cy="44201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t">
            <a:noAutofit/>
          </a:bodyPr>
          <a:lstStyle/>
          <a:p>
            <a:r>
              <a:rPr dirty="0"/>
              <a:t>Textebene 1</a:t>
            </a:r>
          </a:p>
          <a:p>
            <a:pPr lvl="1"/>
            <a:r>
              <a:rPr dirty="0"/>
              <a:t>Textebene 2</a:t>
            </a:r>
          </a:p>
          <a:p>
            <a:pPr lvl="2"/>
            <a:r>
              <a:rPr dirty="0"/>
              <a:t>Textebene 3</a:t>
            </a:r>
          </a:p>
          <a:p>
            <a:pPr lvl="3"/>
            <a:r>
              <a:rPr dirty="0"/>
              <a:t>Textebene 4</a:t>
            </a:r>
          </a:p>
        </p:txBody>
      </p:sp>
      <p:sp>
        <p:nvSpPr>
          <p:cNvPr id="7" name="Shape 13"/>
          <p:cNvSpPr>
            <a:spLocks noGrp="1"/>
          </p:cNvSpPr>
          <p:nvPr>
            <p:ph type="sldNum" sz="quarter" idx="4"/>
          </p:nvPr>
        </p:nvSpPr>
        <p:spPr>
          <a:xfrm>
            <a:off x="6090049" y="6497442"/>
            <a:ext cx="339837" cy="23891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ctr">
            <a:spAutoFit/>
          </a:bodyPr>
          <a:lstStyle>
            <a:lvl1pPr>
              <a:defRPr lang="de-DE" sz="984" b="0" smtClean="0">
                <a:solidFill>
                  <a:srgbClr val="00684C"/>
                </a:solidFill>
                <a:effectLst>
                  <a:outerShdw blurRad="12700" dist="38100" dir="2700000" rotWithShape="0">
                    <a:srgbClr val="FFFFFF">
                      <a:alpha val="80000"/>
                    </a:srgbClr>
                  </a:outerShdw>
                </a:effectLst>
                <a:latin typeface="Calibri Light" panose="020F0302020204030204" pitchFamily="34" charset="0"/>
              </a:defRPr>
            </a:lvl1pPr>
          </a:lstStyle>
          <a:p>
            <a:fld id="{86CB4B4D-7CA3-9044-876B-883B54F8677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0616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91" r:id="rId2"/>
    <p:sldLayoutId id="2147483692" r:id="rId3"/>
    <p:sldLayoutId id="2147483689" r:id="rId4"/>
    <p:sldLayoutId id="2147483675" r:id="rId5"/>
    <p:sldLayoutId id="2147483679" r:id="rId6"/>
    <p:sldLayoutId id="2147483693" r:id="rId7"/>
    <p:sldLayoutId id="2147483683" r:id="rId8"/>
    <p:sldLayoutId id="2147483690" r:id="rId9"/>
    <p:sldLayoutId id="2147483684" r:id="rId10"/>
  </p:sldLayoutIdLst>
  <p:transition spd="med"/>
  <p:hf hdr="0" ftr="0"/>
  <p:txStyles>
    <p:titleStyle>
      <a:lvl1pPr marL="0" marR="0" indent="0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1" i="0" u="none" strike="noStrike" cap="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160729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321457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482186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642915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803643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964372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1125101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1285829" algn="l" defTabSz="32145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75" b="0" i="0" u="none" strike="noStrike" cap="small" spc="0" baseline="0">
          <a:ln>
            <a:noFill/>
          </a:ln>
          <a:solidFill>
            <a:srgbClr val="00684C"/>
          </a:solidFill>
          <a:uFillTx/>
          <a:latin typeface="+mn-lt"/>
          <a:ea typeface="+mn-ea"/>
          <a:cs typeface="+mn-cs"/>
          <a:sym typeface="Calibri"/>
        </a:defRPr>
      </a:lvl9pPr>
    </p:titleStyle>
    <p:bodyStyle>
      <a:lvl1pPr marL="0" marR="0" indent="0" algn="l" defTabSz="410751" rtl="0" eaLnBrk="1" latinLnBrk="0" hangingPunct="1">
        <a:lnSpc>
          <a:spcPct val="100000"/>
        </a:lnSpc>
        <a:spcBef>
          <a:spcPts val="1055"/>
        </a:spcBef>
        <a:spcAft>
          <a:spcPts val="600"/>
        </a:spcAft>
        <a:buClr>
          <a:srgbClr val="00684C"/>
        </a:buClr>
        <a:buSzPct val="75000"/>
        <a:buFont typeface="Wingdings" panose="05000000000000000000" pitchFamily="2" charset="2"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  <a:sym typeface="Helvetica Light"/>
        </a:defRPr>
      </a:lvl1pPr>
      <a:lvl2pPr marL="122779" marR="0" indent="-122779" algn="l" defTabSz="410751" rtl="0" eaLnBrk="1" latinLnBrk="0" hangingPunct="1">
        <a:lnSpc>
          <a:spcPct val="100000"/>
        </a:lnSpc>
        <a:spcBef>
          <a:spcPts val="422"/>
        </a:spcBef>
        <a:spcAft>
          <a:spcPts val="600"/>
        </a:spcAft>
        <a:buClr>
          <a:srgbClr val="00684C"/>
        </a:buClr>
        <a:buSzPct val="75000"/>
        <a:buFont typeface="Wingdings" panose="05000000000000000000" pitchFamily="2" charset="2"/>
        <a:buChar char="§"/>
        <a:tabLst/>
        <a:defRPr sz="20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  <a:sym typeface="Helvetica Light"/>
        </a:defRPr>
      </a:lvl2pPr>
      <a:lvl3pPr marL="252255" marR="0" indent="-129476" algn="l" defTabSz="410751" rtl="0" eaLnBrk="1" latinLnBrk="0" hangingPunct="1">
        <a:lnSpc>
          <a:spcPct val="100000"/>
        </a:lnSpc>
        <a:spcBef>
          <a:spcPts val="422"/>
        </a:spcBef>
        <a:spcAft>
          <a:spcPts val="600"/>
        </a:spcAft>
        <a:buClr>
          <a:srgbClr val="00684C"/>
        </a:buClr>
        <a:buSzPct val="75000"/>
        <a:buFont typeface="Symbol" panose="05050102010706020507" pitchFamily="18" charset="2"/>
        <a:buChar char="-"/>
        <a:tabLst/>
        <a:defRPr sz="20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  <a:sym typeface="Helvetica Light"/>
        </a:defRPr>
      </a:lvl3pPr>
      <a:lvl4pPr marL="375034" marR="0" indent="-122779" algn="l" defTabSz="410751" rtl="0" eaLnBrk="1" latinLnBrk="0" hangingPunct="1">
        <a:lnSpc>
          <a:spcPct val="100000"/>
        </a:lnSpc>
        <a:spcBef>
          <a:spcPts val="422"/>
        </a:spcBef>
        <a:spcAft>
          <a:spcPts val="600"/>
        </a:spcAft>
        <a:buClr>
          <a:srgbClr val="00684C"/>
        </a:buClr>
        <a:buSzPct val="75000"/>
        <a:buFontTx/>
        <a:buChar char="•"/>
        <a:tabLst/>
        <a:defRPr sz="20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  <a:sym typeface="Helvetica Light"/>
        </a:defRPr>
      </a:lvl4pPr>
      <a:lvl5pPr marL="1261274" marR="0" indent="-248907" algn="l" defTabSz="410751" rtl="0" eaLnBrk="1" latinLnBrk="0" hangingPunct="1">
        <a:lnSpc>
          <a:spcPct val="100000"/>
        </a:lnSpc>
        <a:spcBef>
          <a:spcPts val="422"/>
        </a:spcBef>
        <a:spcAft>
          <a:spcPts val="0"/>
        </a:spcAft>
        <a:buClr>
          <a:srgbClr val="00684C"/>
        </a:buClr>
        <a:buSzPct val="75000"/>
        <a:buFontTx/>
        <a:buChar char="•"/>
        <a:tabLst/>
        <a:defRPr sz="1406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  <a:sym typeface="Helvetica Light"/>
        </a:defRPr>
      </a:lvl5pPr>
      <a:lvl6pPr marL="1875168" marR="0" indent="-312528" algn="l" defTabSz="410751" rtl="0" eaLnBrk="1" latinLnBrk="0" hangingPunct="1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6pPr>
      <a:lvl7pPr marL="2187696" marR="0" indent="-312528" algn="l" defTabSz="410751" rtl="0" eaLnBrk="1" latinLnBrk="0" hangingPunct="1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7pPr>
      <a:lvl8pPr marL="2500224" marR="0" indent="-312528" algn="l" defTabSz="410751" rtl="0" eaLnBrk="1" latinLnBrk="0" hangingPunct="1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8pPr>
      <a:lvl9pPr marL="2812752" marR="0" indent="-312528" algn="l" defTabSz="410751" rtl="0" eaLnBrk="1" latinLnBrk="0" hangingPunct="1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9pPr>
    </p:bodyStyle>
    <p:otherStyle>
      <a:lvl1pPr marL="0" marR="0" indent="0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1pPr>
      <a:lvl2pPr marL="0" marR="0" indent="160729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2pPr>
      <a:lvl3pPr marL="0" marR="0" indent="321457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3pPr>
      <a:lvl4pPr marL="0" marR="0" indent="482186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4pPr>
      <a:lvl5pPr marL="0" marR="0" indent="642915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5pPr>
      <a:lvl6pPr marL="0" marR="0" indent="803643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6pPr>
      <a:lvl7pPr marL="0" marR="0" indent="964372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7pPr>
      <a:lvl8pPr marL="0" marR="0" indent="1125101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8pPr>
      <a:lvl9pPr marL="0" marR="0" indent="1285829" algn="l" defTabSz="321457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effectLst>
            <a:outerShdw blurRad="12700" dist="38100" dir="2700000" rotWithShape="0">
              <a:srgbClr val="FFFFFF">
                <a:alpha val="80000"/>
              </a:srgbClr>
            </a:outerShdw>
          </a:effectLst>
          <a:uFillTx/>
          <a:latin typeface="+mn-lt"/>
          <a:ea typeface="+mn-ea"/>
          <a:cs typeface="+mn-cs"/>
          <a:sym typeface="Calibri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24.png"/><Relationship Id="rId18" Type="http://schemas.openxmlformats.org/officeDocument/2006/relationships/image" Target="../media/image29.jpeg"/><Relationship Id="rId3" Type="http://schemas.openxmlformats.org/officeDocument/2006/relationships/image" Target="../media/image14.png"/><Relationship Id="rId21" Type="http://schemas.openxmlformats.org/officeDocument/2006/relationships/image" Target="../media/image32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17" Type="http://schemas.openxmlformats.org/officeDocument/2006/relationships/image" Target="../media/image28.png"/><Relationship Id="rId2" Type="http://schemas.openxmlformats.org/officeDocument/2006/relationships/image" Target="../media/image13.jfif"/><Relationship Id="rId16" Type="http://schemas.openxmlformats.org/officeDocument/2006/relationships/image" Target="../media/image27.svg"/><Relationship Id="rId20" Type="http://schemas.openxmlformats.org/officeDocument/2006/relationships/image" Target="../media/image3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7.sv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5" Type="http://schemas.openxmlformats.org/officeDocument/2006/relationships/image" Target="../media/image26.png"/><Relationship Id="rId23" Type="http://schemas.openxmlformats.org/officeDocument/2006/relationships/image" Target="../media/image34.png"/><Relationship Id="rId10" Type="http://schemas.openxmlformats.org/officeDocument/2006/relationships/image" Target="../media/image21.svg"/><Relationship Id="rId19" Type="http://schemas.openxmlformats.org/officeDocument/2006/relationships/image" Target="../media/image30.png"/><Relationship Id="rId4" Type="http://schemas.openxmlformats.org/officeDocument/2006/relationships/image" Target="../media/image15.svg"/><Relationship Id="rId9" Type="http://schemas.openxmlformats.org/officeDocument/2006/relationships/image" Target="../media/image20.png"/><Relationship Id="rId14" Type="http://schemas.openxmlformats.org/officeDocument/2006/relationships/image" Target="../media/image25.svg"/><Relationship Id="rId22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svg"/><Relationship Id="rId3" Type="http://schemas.openxmlformats.org/officeDocument/2006/relationships/image" Target="../media/image36.svg"/><Relationship Id="rId7" Type="http://schemas.openxmlformats.org/officeDocument/2006/relationships/image" Target="../media/image40.svg"/><Relationship Id="rId12" Type="http://schemas.openxmlformats.org/officeDocument/2006/relationships/image" Target="../media/image45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9.png"/><Relationship Id="rId11" Type="http://schemas.openxmlformats.org/officeDocument/2006/relationships/image" Target="../media/image44.svg"/><Relationship Id="rId5" Type="http://schemas.openxmlformats.org/officeDocument/2006/relationships/image" Target="../media/image38.svg"/><Relationship Id="rId10" Type="http://schemas.openxmlformats.org/officeDocument/2006/relationships/image" Target="../media/image43.png"/><Relationship Id="rId4" Type="http://schemas.openxmlformats.org/officeDocument/2006/relationships/image" Target="../media/image37.png"/><Relationship Id="rId9" Type="http://schemas.openxmlformats.org/officeDocument/2006/relationships/image" Target="../media/image42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276361" y="3583872"/>
            <a:ext cx="8692972" cy="519038"/>
          </a:xfrm>
          <a:solidFill>
            <a:srgbClr val="FFFFFF">
              <a:alpha val="0"/>
            </a:srgbClr>
          </a:solidFill>
        </p:spPr>
        <p:txBody>
          <a:bodyPr/>
          <a:lstStyle/>
          <a:p>
            <a:pPr marL="90170" algn="just">
              <a:spcAft>
                <a:spcPts val="1000"/>
              </a:spcAft>
            </a:pPr>
            <a:r>
              <a:rPr lang="en-GB" sz="1800" b="1" spc="-2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pscaling FLR and involvement of private sector investments, banks and financial intermediaries in meeting NDC goals</a:t>
            </a: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/>
          </p:nvPr>
        </p:nvSpPr>
        <p:spPr>
          <a:solidFill>
            <a:srgbClr val="FFFFFF">
              <a:alpha val="0"/>
            </a:srgbClr>
          </a:solidFill>
        </p:spPr>
        <p:txBody>
          <a:bodyPr/>
          <a:lstStyle/>
          <a:p>
            <a:r>
              <a:rPr lang="de-DE" sz="2000" dirty="0">
                <a:solidFill>
                  <a:srgbClr val="FFFFFF"/>
                </a:solidFill>
              </a:rPr>
              <a:t>IKI Brown Bag Lunch </a:t>
            </a:r>
            <a:endParaRPr lang="sa-IN" sz="2000" dirty="0">
              <a:solidFill>
                <a:srgbClr val="FFFFFF"/>
              </a:solidFill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solidFill>
            <a:srgbClr val="FFFFFF">
              <a:alpha val="0"/>
            </a:srgbClr>
          </a:solidFill>
        </p:spPr>
        <p:txBody>
          <a:bodyPr/>
          <a:lstStyle/>
          <a:p>
            <a:r>
              <a:rPr lang="de-DE" dirty="0">
                <a:solidFill>
                  <a:srgbClr val="FFFFFF"/>
                </a:solidFill>
              </a:rPr>
              <a:t>Till Pistorius and </a:t>
            </a:r>
            <a:r>
              <a:rPr lang="sa-IN" dirty="0">
                <a:solidFill>
                  <a:srgbClr val="FFFFFF"/>
                </a:solidFill>
              </a:rPr>
              <a:t>Johannes Mössinger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solidFill>
            <a:srgbClr val="FFFFFF">
              <a:alpha val="0"/>
            </a:srgbClr>
          </a:solidFill>
        </p:spPr>
        <p:txBody>
          <a:bodyPr/>
          <a:lstStyle/>
          <a:p>
            <a:r>
              <a:rPr lang="sa-IN" dirty="0">
                <a:solidFill>
                  <a:srgbClr val="FFFFFF"/>
                </a:solidFill>
              </a:rPr>
              <a:t>2</a:t>
            </a:r>
            <a:r>
              <a:rPr lang="de-DE" dirty="0">
                <a:solidFill>
                  <a:srgbClr val="FFFFFF"/>
                </a:solidFill>
              </a:rPr>
              <a:t>2</a:t>
            </a:r>
            <a:r>
              <a:rPr lang="sa-IN" dirty="0">
                <a:solidFill>
                  <a:srgbClr val="FFFFFF"/>
                </a:solidFill>
              </a:rPr>
              <a:t>.0</a:t>
            </a:r>
            <a:r>
              <a:rPr lang="de-DE" dirty="0">
                <a:solidFill>
                  <a:srgbClr val="FFFFFF"/>
                </a:solidFill>
              </a:rPr>
              <a:t>4</a:t>
            </a:r>
            <a:r>
              <a:rPr lang="sa-IN" dirty="0">
                <a:solidFill>
                  <a:srgbClr val="FFFFFF"/>
                </a:solidFill>
              </a:rPr>
              <a:t>.2021</a:t>
            </a:r>
          </a:p>
        </p:txBody>
      </p:sp>
      <p:pic>
        <p:nvPicPr>
          <p:cNvPr id="51" name="Grafik 11">
            <a:extLst>
              <a:ext uri="{FF2B5EF4-FFF2-40B4-BE49-F238E27FC236}">
                <a16:creationId xmlns:a16="http://schemas.microsoft.com/office/drawing/2014/main" id="{A2B607BD-885C-4F81-B2E2-25F919A5432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6481" y="3760199"/>
            <a:ext cx="2629527" cy="1573731"/>
          </a:xfrm>
          <a:prstGeom prst="rect">
            <a:avLst/>
          </a:prstGeom>
        </p:spPr>
      </p:pic>
      <p:pic>
        <p:nvPicPr>
          <p:cNvPr id="52" name="2015 02 19 Logo UNIQUE.png">
            <a:extLst>
              <a:ext uri="{FF2B5EF4-FFF2-40B4-BE49-F238E27FC236}">
                <a16:creationId xmlns:a16="http://schemas.microsoft.com/office/drawing/2014/main" id="{EE32A997-A54C-495D-8F05-B434A422140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6429" y="1276826"/>
            <a:ext cx="1046137" cy="717351"/>
          </a:xfrm>
          <a:prstGeom prst="rect">
            <a:avLst/>
          </a:prstGeom>
          <a:ln w="12700">
            <a:miter lim="400000"/>
          </a:ln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69333" y="1490921"/>
            <a:ext cx="1403436" cy="3564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1B5B4029-736E-4466-ACDB-71CF6DD1D67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43499" y="975001"/>
            <a:ext cx="3765600" cy="2520000"/>
          </a:xfrm>
          <a:prstGeom prst="rect">
            <a:avLst/>
          </a:prstGeom>
        </p:spPr>
      </p:pic>
      <p:pic>
        <p:nvPicPr>
          <p:cNvPr id="13" name="Inhaltsplatzhalter 16">
            <a:extLst>
              <a:ext uri="{FF2B5EF4-FFF2-40B4-BE49-F238E27FC236}">
                <a16:creationId xmlns:a16="http://schemas.microsoft.com/office/drawing/2014/main" id="{F58BEAFE-679D-402B-B093-3E857FA993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6361" y="969106"/>
            <a:ext cx="3767138" cy="2518768"/>
          </a:xfrm>
          <a:prstGeom prst="rect">
            <a:avLst/>
          </a:prstGeom>
        </p:spPr>
      </p:pic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5DAD0890-AEC6-434A-9EB0-55CCA61040C7}"/>
              </a:ext>
            </a:extLst>
          </p:cNvPr>
          <p:cNvGrpSpPr/>
          <p:nvPr/>
        </p:nvGrpSpPr>
        <p:grpSpPr>
          <a:xfrm>
            <a:off x="3608179" y="1761986"/>
            <a:ext cx="806246" cy="634952"/>
            <a:chOff x="9045676" y="2000864"/>
            <a:chExt cx="806246" cy="634952"/>
          </a:xfrm>
        </p:grpSpPr>
        <p:sp>
          <p:nvSpPr>
            <p:cNvPr id="3" name="Ellipse 2">
              <a:extLst>
                <a:ext uri="{FF2B5EF4-FFF2-40B4-BE49-F238E27FC236}">
                  <a16:creationId xmlns:a16="http://schemas.microsoft.com/office/drawing/2014/main" id="{79247894-65D2-4335-855B-9FB4C83495D2}"/>
                </a:ext>
              </a:extLst>
            </p:cNvPr>
            <p:cNvSpPr/>
            <p:nvPr/>
          </p:nvSpPr>
          <p:spPr>
            <a:xfrm>
              <a:off x="9045677" y="2359742"/>
              <a:ext cx="412955" cy="157316"/>
            </a:xfrm>
            <a:prstGeom prst="ellipse">
              <a:avLst/>
            </a:prstGeom>
            <a:solidFill>
              <a:schemeClr val="bg1"/>
            </a:solidFill>
            <a:ln w="25400" cap="flat">
              <a:solidFill>
                <a:srgbClr val="00B05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9A3E034C-C842-4066-A744-1CB9FD9F92AB}"/>
                </a:ext>
              </a:extLst>
            </p:cNvPr>
            <p:cNvSpPr/>
            <p:nvPr/>
          </p:nvSpPr>
          <p:spPr>
            <a:xfrm>
              <a:off x="9045676" y="2286000"/>
              <a:ext cx="412955" cy="157316"/>
            </a:xfrm>
            <a:prstGeom prst="ellipse">
              <a:avLst/>
            </a:prstGeom>
            <a:solidFill>
              <a:schemeClr val="bg1"/>
            </a:solidFill>
            <a:ln w="25400" cap="flat">
              <a:solidFill>
                <a:srgbClr val="00B05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7DD92AD0-242D-4291-89AA-9742C4FB1B9F}"/>
                </a:ext>
              </a:extLst>
            </p:cNvPr>
            <p:cNvSpPr/>
            <p:nvPr/>
          </p:nvSpPr>
          <p:spPr>
            <a:xfrm>
              <a:off x="9045677" y="2202426"/>
              <a:ext cx="412955" cy="157316"/>
            </a:xfrm>
            <a:prstGeom prst="ellipse">
              <a:avLst/>
            </a:prstGeom>
            <a:solidFill>
              <a:schemeClr val="bg1"/>
            </a:solidFill>
            <a:ln w="25400" cap="flat">
              <a:solidFill>
                <a:srgbClr val="00B05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38C7F894-1CFB-4BC2-846C-2D72499E2AF5}"/>
                </a:ext>
              </a:extLst>
            </p:cNvPr>
            <p:cNvSpPr/>
            <p:nvPr/>
          </p:nvSpPr>
          <p:spPr>
            <a:xfrm>
              <a:off x="9050592" y="2133600"/>
              <a:ext cx="412955" cy="157316"/>
            </a:xfrm>
            <a:prstGeom prst="ellipse">
              <a:avLst/>
            </a:prstGeom>
            <a:solidFill>
              <a:schemeClr val="bg1"/>
            </a:solidFill>
            <a:ln w="25400" cap="flat">
              <a:solidFill>
                <a:srgbClr val="00B05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17" name="Ellipse 16">
              <a:extLst>
                <a:ext uri="{FF2B5EF4-FFF2-40B4-BE49-F238E27FC236}">
                  <a16:creationId xmlns:a16="http://schemas.microsoft.com/office/drawing/2014/main" id="{2390C863-774B-472E-9486-4393AE0790D0}"/>
                </a:ext>
              </a:extLst>
            </p:cNvPr>
            <p:cNvSpPr/>
            <p:nvPr/>
          </p:nvSpPr>
          <p:spPr>
            <a:xfrm>
              <a:off x="9055507" y="2064774"/>
              <a:ext cx="412955" cy="157316"/>
            </a:xfrm>
            <a:prstGeom prst="ellipse">
              <a:avLst/>
            </a:prstGeom>
            <a:solidFill>
              <a:schemeClr val="bg1"/>
            </a:solidFill>
            <a:ln w="25400" cap="flat">
              <a:solidFill>
                <a:srgbClr val="00B05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8FF3FDB2-848A-4DFD-9EE1-783E2FCFF75B}"/>
                </a:ext>
              </a:extLst>
            </p:cNvPr>
            <p:cNvSpPr/>
            <p:nvPr/>
          </p:nvSpPr>
          <p:spPr>
            <a:xfrm>
              <a:off x="9050592" y="2000864"/>
              <a:ext cx="412955" cy="157316"/>
            </a:xfrm>
            <a:prstGeom prst="ellipse">
              <a:avLst/>
            </a:prstGeom>
            <a:solidFill>
              <a:schemeClr val="bg1"/>
            </a:solidFill>
            <a:ln w="25400" cap="flat">
              <a:solidFill>
                <a:srgbClr val="00B05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238FAEE9-0B79-43AC-BE56-7D954CB6F461}"/>
                </a:ext>
              </a:extLst>
            </p:cNvPr>
            <p:cNvSpPr/>
            <p:nvPr/>
          </p:nvSpPr>
          <p:spPr>
            <a:xfrm>
              <a:off x="9342015" y="2161742"/>
              <a:ext cx="412955" cy="396000"/>
            </a:xfrm>
            <a:prstGeom prst="ellipse">
              <a:avLst/>
            </a:prstGeom>
            <a:solidFill>
              <a:schemeClr val="bg1"/>
            </a:solidFill>
            <a:ln w="25400" cap="flat">
              <a:solidFill>
                <a:srgbClr val="00B05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D43B269A-38A9-42EC-B0CE-97766651E615}"/>
                </a:ext>
              </a:extLst>
            </p:cNvPr>
            <p:cNvSpPr txBox="1"/>
            <p:nvPr/>
          </p:nvSpPr>
          <p:spPr>
            <a:xfrm>
              <a:off x="9438967" y="2179281"/>
              <a:ext cx="412955" cy="45653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l" defTabSz="457200" rtl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de-DE" sz="2000" i="0" u="none" strike="noStrike" cap="none" spc="0" normalizeH="0" baseline="0" dirty="0">
                  <a:ln>
                    <a:noFill/>
                  </a:ln>
                  <a:solidFill>
                    <a:srgbClr val="00B050"/>
                  </a:solidFill>
                  <a:effectLst/>
                  <a:uFillTx/>
                  <a:sym typeface="Calibri"/>
                </a:rPr>
                <a:t>€</a:t>
              </a:r>
            </a:p>
          </p:txBody>
        </p:sp>
      </p:grpSp>
      <p:sp>
        <p:nvSpPr>
          <p:cNvPr id="21" name="Pfeil: nach rechts 20">
            <a:extLst>
              <a:ext uri="{FF2B5EF4-FFF2-40B4-BE49-F238E27FC236}">
                <a16:creationId xmlns:a16="http://schemas.microsoft.com/office/drawing/2014/main" id="{FD1321DF-C4B4-4749-98D9-6208CE707662}"/>
              </a:ext>
            </a:extLst>
          </p:cNvPr>
          <p:cNvSpPr/>
          <p:nvPr/>
        </p:nvSpPr>
        <p:spPr>
          <a:xfrm>
            <a:off x="3549445" y="2281084"/>
            <a:ext cx="1081549" cy="602256"/>
          </a:xfrm>
          <a:prstGeom prst="rightArrow">
            <a:avLst/>
          </a:prstGeom>
          <a:solidFill>
            <a:srgbClr val="00B050"/>
          </a:solidFill>
          <a:ln w="635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41" name="Freihandform 138">
            <a:extLst>
              <a:ext uri="{FF2B5EF4-FFF2-40B4-BE49-F238E27FC236}">
                <a16:creationId xmlns:a16="http://schemas.microsoft.com/office/drawing/2014/main" id="{C533E259-27FF-4E3B-AE40-698F3D1F8764}"/>
              </a:ext>
            </a:extLst>
          </p:cNvPr>
          <p:cNvSpPr/>
          <p:nvPr/>
        </p:nvSpPr>
        <p:spPr>
          <a:xfrm>
            <a:off x="3943830" y="1608018"/>
            <a:ext cx="368692" cy="314188"/>
          </a:xfrm>
          <a:custGeom>
            <a:avLst/>
            <a:gdLst>
              <a:gd name="connsiteX0" fmla="*/ 559594 w 1312179"/>
              <a:gd name="connsiteY0" fmla="*/ 957262 h 985837"/>
              <a:gd name="connsiteX1" fmla="*/ 547688 w 1312179"/>
              <a:gd name="connsiteY1" fmla="*/ 914400 h 985837"/>
              <a:gd name="connsiteX2" fmla="*/ 557213 w 1312179"/>
              <a:gd name="connsiteY2" fmla="*/ 900112 h 985837"/>
              <a:gd name="connsiteX3" fmla="*/ 571500 w 1312179"/>
              <a:gd name="connsiteY3" fmla="*/ 890587 h 985837"/>
              <a:gd name="connsiteX4" fmla="*/ 576263 w 1312179"/>
              <a:gd name="connsiteY4" fmla="*/ 883443 h 985837"/>
              <a:gd name="connsiteX5" fmla="*/ 585788 w 1312179"/>
              <a:gd name="connsiteY5" fmla="*/ 862012 h 985837"/>
              <a:gd name="connsiteX6" fmla="*/ 585788 w 1312179"/>
              <a:gd name="connsiteY6" fmla="*/ 823912 h 985837"/>
              <a:gd name="connsiteX7" fmla="*/ 581025 w 1312179"/>
              <a:gd name="connsiteY7" fmla="*/ 809625 h 985837"/>
              <a:gd name="connsiteX8" fmla="*/ 576263 w 1312179"/>
              <a:gd name="connsiteY8" fmla="*/ 802481 h 985837"/>
              <a:gd name="connsiteX9" fmla="*/ 569119 w 1312179"/>
              <a:gd name="connsiteY9" fmla="*/ 788193 h 985837"/>
              <a:gd name="connsiteX10" fmla="*/ 561975 w 1312179"/>
              <a:gd name="connsiteY10" fmla="*/ 762000 h 985837"/>
              <a:gd name="connsiteX11" fmla="*/ 559594 w 1312179"/>
              <a:gd name="connsiteY11" fmla="*/ 754856 h 985837"/>
              <a:gd name="connsiteX12" fmla="*/ 554831 w 1312179"/>
              <a:gd name="connsiteY12" fmla="*/ 747712 h 985837"/>
              <a:gd name="connsiteX13" fmla="*/ 550069 w 1312179"/>
              <a:gd name="connsiteY13" fmla="*/ 728662 h 985837"/>
              <a:gd name="connsiteX14" fmla="*/ 547688 w 1312179"/>
              <a:gd name="connsiteY14" fmla="*/ 719137 h 985837"/>
              <a:gd name="connsiteX15" fmla="*/ 542925 w 1312179"/>
              <a:gd name="connsiteY15" fmla="*/ 704850 h 985837"/>
              <a:gd name="connsiteX16" fmla="*/ 540544 w 1312179"/>
              <a:gd name="connsiteY16" fmla="*/ 697706 h 985837"/>
              <a:gd name="connsiteX17" fmla="*/ 535781 w 1312179"/>
              <a:gd name="connsiteY17" fmla="*/ 666750 h 985837"/>
              <a:gd name="connsiteX18" fmla="*/ 531019 w 1312179"/>
              <a:gd name="connsiteY18" fmla="*/ 652462 h 985837"/>
              <a:gd name="connsiteX19" fmla="*/ 528638 w 1312179"/>
              <a:gd name="connsiteY19" fmla="*/ 645318 h 985837"/>
              <a:gd name="connsiteX20" fmla="*/ 526256 w 1312179"/>
              <a:gd name="connsiteY20" fmla="*/ 602456 h 985837"/>
              <a:gd name="connsiteX21" fmla="*/ 523875 w 1312179"/>
              <a:gd name="connsiteY21" fmla="*/ 595312 h 985837"/>
              <a:gd name="connsiteX22" fmla="*/ 519113 w 1312179"/>
              <a:gd name="connsiteY22" fmla="*/ 576262 h 985837"/>
              <a:gd name="connsiteX23" fmla="*/ 516731 w 1312179"/>
              <a:gd name="connsiteY23" fmla="*/ 569118 h 985837"/>
              <a:gd name="connsiteX24" fmla="*/ 502444 w 1312179"/>
              <a:gd name="connsiteY24" fmla="*/ 554831 h 985837"/>
              <a:gd name="connsiteX25" fmla="*/ 490538 w 1312179"/>
              <a:gd name="connsiteY25" fmla="*/ 540543 h 985837"/>
              <a:gd name="connsiteX26" fmla="*/ 483394 w 1312179"/>
              <a:gd name="connsiteY26" fmla="*/ 535781 h 985837"/>
              <a:gd name="connsiteX27" fmla="*/ 469106 w 1312179"/>
              <a:gd name="connsiteY27" fmla="*/ 514350 h 985837"/>
              <a:gd name="connsiteX28" fmla="*/ 464344 w 1312179"/>
              <a:gd name="connsiteY28" fmla="*/ 507206 h 985837"/>
              <a:gd name="connsiteX29" fmla="*/ 450056 w 1312179"/>
              <a:gd name="connsiteY29" fmla="*/ 497681 h 985837"/>
              <a:gd name="connsiteX30" fmla="*/ 442913 w 1312179"/>
              <a:gd name="connsiteY30" fmla="*/ 492918 h 985837"/>
              <a:gd name="connsiteX31" fmla="*/ 435769 w 1312179"/>
              <a:gd name="connsiteY31" fmla="*/ 488156 h 985837"/>
              <a:gd name="connsiteX32" fmla="*/ 431006 w 1312179"/>
              <a:gd name="connsiteY32" fmla="*/ 481012 h 985837"/>
              <a:gd name="connsiteX33" fmla="*/ 423863 w 1312179"/>
              <a:gd name="connsiteY33" fmla="*/ 478631 h 985837"/>
              <a:gd name="connsiteX34" fmla="*/ 414338 w 1312179"/>
              <a:gd name="connsiteY34" fmla="*/ 469106 h 985837"/>
              <a:gd name="connsiteX35" fmla="*/ 400050 w 1312179"/>
              <a:gd name="connsiteY35" fmla="*/ 459581 h 985837"/>
              <a:gd name="connsiteX36" fmla="*/ 385763 w 1312179"/>
              <a:gd name="connsiteY36" fmla="*/ 450056 h 985837"/>
              <a:gd name="connsiteX37" fmla="*/ 371475 w 1312179"/>
              <a:gd name="connsiteY37" fmla="*/ 445293 h 985837"/>
              <a:gd name="connsiteX38" fmla="*/ 364331 w 1312179"/>
              <a:gd name="connsiteY38" fmla="*/ 442912 h 985837"/>
              <a:gd name="connsiteX39" fmla="*/ 354806 w 1312179"/>
              <a:gd name="connsiteY39" fmla="*/ 440531 h 985837"/>
              <a:gd name="connsiteX40" fmla="*/ 333375 w 1312179"/>
              <a:gd name="connsiteY40" fmla="*/ 433387 h 985837"/>
              <a:gd name="connsiteX41" fmla="*/ 326231 w 1312179"/>
              <a:gd name="connsiteY41" fmla="*/ 431006 h 985837"/>
              <a:gd name="connsiteX42" fmla="*/ 304800 w 1312179"/>
              <a:gd name="connsiteY42" fmla="*/ 421481 h 985837"/>
              <a:gd name="connsiteX43" fmla="*/ 297656 w 1312179"/>
              <a:gd name="connsiteY43" fmla="*/ 416718 h 985837"/>
              <a:gd name="connsiteX44" fmla="*/ 288131 w 1312179"/>
              <a:gd name="connsiteY44" fmla="*/ 414337 h 985837"/>
              <a:gd name="connsiteX45" fmla="*/ 280988 w 1312179"/>
              <a:gd name="connsiteY45" fmla="*/ 411956 h 985837"/>
              <a:gd name="connsiteX46" fmla="*/ 261938 w 1312179"/>
              <a:gd name="connsiteY46" fmla="*/ 402431 h 985837"/>
              <a:gd name="connsiteX47" fmla="*/ 247650 w 1312179"/>
              <a:gd name="connsiteY47" fmla="*/ 397668 h 985837"/>
              <a:gd name="connsiteX48" fmla="*/ 230981 w 1312179"/>
              <a:gd name="connsiteY48" fmla="*/ 390525 h 985837"/>
              <a:gd name="connsiteX49" fmla="*/ 216694 w 1312179"/>
              <a:gd name="connsiteY49" fmla="*/ 385762 h 985837"/>
              <a:gd name="connsiteX50" fmla="*/ 209550 w 1312179"/>
              <a:gd name="connsiteY50" fmla="*/ 383381 h 985837"/>
              <a:gd name="connsiteX51" fmla="*/ 185738 w 1312179"/>
              <a:gd name="connsiteY51" fmla="*/ 381000 h 985837"/>
              <a:gd name="connsiteX52" fmla="*/ 161925 w 1312179"/>
              <a:gd name="connsiteY52" fmla="*/ 383381 h 985837"/>
              <a:gd name="connsiteX53" fmla="*/ 145256 w 1312179"/>
              <a:gd name="connsiteY53" fmla="*/ 388143 h 985837"/>
              <a:gd name="connsiteX54" fmla="*/ 133350 w 1312179"/>
              <a:gd name="connsiteY54" fmla="*/ 390525 h 985837"/>
              <a:gd name="connsiteX55" fmla="*/ 109538 w 1312179"/>
              <a:gd name="connsiteY55" fmla="*/ 392906 h 985837"/>
              <a:gd name="connsiteX56" fmla="*/ 42863 w 1312179"/>
              <a:gd name="connsiteY56" fmla="*/ 388143 h 985837"/>
              <a:gd name="connsiteX57" fmla="*/ 35719 w 1312179"/>
              <a:gd name="connsiteY57" fmla="*/ 385762 h 985837"/>
              <a:gd name="connsiteX58" fmla="*/ 19050 w 1312179"/>
              <a:gd name="connsiteY58" fmla="*/ 376237 h 985837"/>
              <a:gd name="connsiteX59" fmla="*/ 14288 w 1312179"/>
              <a:gd name="connsiteY59" fmla="*/ 369093 h 985837"/>
              <a:gd name="connsiteX60" fmla="*/ 7144 w 1312179"/>
              <a:gd name="connsiteY60" fmla="*/ 361950 h 985837"/>
              <a:gd name="connsiteX61" fmla="*/ 4763 w 1312179"/>
              <a:gd name="connsiteY61" fmla="*/ 354806 h 985837"/>
              <a:gd name="connsiteX62" fmla="*/ 0 w 1312179"/>
              <a:gd name="connsiteY62" fmla="*/ 347662 h 985837"/>
              <a:gd name="connsiteX63" fmla="*/ 2381 w 1312179"/>
              <a:gd name="connsiteY63" fmla="*/ 333375 h 985837"/>
              <a:gd name="connsiteX64" fmla="*/ 26194 w 1312179"/>
              <a:gd name="connsiteY64" fmla="*/ 330993 h 985837"/>
              <a:gd name="connsiteX65" fmla="*/ 40481 w 1312179"/>
              <a:gd name="connsiteY65" fmla="*/ 335756 h 985837"/>
              <a:gd name="connsiteX66" fmla="*/ 45244 w 1312179"/>
              <a:gd name="connsiteY66" fmla="*/ 342900 h 985837"/>
              <a:gd name="connsiteX67" fmla="*/ 52388 w 1312179"/>
              <a:gd name="connsiteY67" fmla="*/ 347662 h 985837"/>
              <a:gd name="connsiteX68" fmla="*/ 64294 w 1312179"/>
              <a:gd name="connsiteY68" fmla="*/ 357187 h 985837"/>
              <a:gd name="connsiteX69" fmla="*/ 73819 w 1312179"/>
              <a:gd name="connsiteY69" fmla="*/ 361950 h 985837"/>
              <a:gd name="connsiteX70" fmla="*/ 80963 w 1312179"/>
              <a:gd name="connsiteY70" fmla="*/ 366712 h 985837"/>
              <a:gd name="connsiteX71" fmla="*/ 88106 w 1312179"/>
              <a:gd name="connsiteY71" fmla="*/ 369093 h 985837"/>
              <a:gd name="connsiteX72" fmla="*/ 116681 w 1312179"/>
              <a:gd name="connsiteY72" fmla="*/ 373856 h 985837"/>
              <a:gd name="connsiteX73" fmla="*/ 123825 w 1312179"/>
              <a:gd name="connsiteY73" fmla="*/ 376237 h 985837"/>
              <a:gd name="connsiteX74" fmla="*/ 150019 w 1312179"/>
              <a:gd name="connsiteY74" fmla="*/ 371475 h 985837"/>
              <a:gd name="connsiteX75" fmla="*/ 169069 w 1312179"/>
              <a:gd name="connsiteY75" fmla="*/ 366712 h 985837"/>
              <a:gd name="connsiteX76" fmla="*/ 176213 w 1312179"/>
              <a:gd name="connsiteY76" fmla="*/ 361950 h 985837"/>
              <a:gd name="connsiteX77" fmla="*/ 178594 w 1312179"/>
              <a:gd name="connsiteY77" fmla="*/ 347662 h 985837"/>
              <a:gd name="connsiteX78" fmla="*/ 176213 w 1312179"/>
              <a:gd name="connsiteY78" fmla="*/ 330993 h 985837"/>
              <a:gd name="connsiteX79" fmla="*/ 159544 w 1312179"/>
              <a:gd name="connsiteY79" fmla="*/ 309562 h 985837"/>
              <a:gd name="connsiteX80" fmla="*/ 152400 w 1312179"/>
              <a:gd name="connsiteY80" fmla="*/ 304800 h 985837"/>
              <a:gd name="connsiteX81" fmla="*/ 135731 w 1312179"/>
              <a:gd name="connsiteY81" fmla="*/ 280987 h 985837"/>
              <a:gd name="connsiteX82" fmla="*/ 128588 w 1312179"/>
              <a:gd name="connsiteY82" fmla="*/ 276225 h 985837"/>
              <a:gd name="connsiteX83" fmla="*/ 123825 w 1312179"/>
              <a:gd name="connsiteY83" fmla="*/ 269081 h 985837"/>
              <a:gd name="connsiteX84" fmla="*/ 116681 w 1312179"/>
              <a:gd name="connsiteY84" fmla="*/ 257175 h 985837"/>
              <a:gd name="connsiteX85" fmla="*/ 109538 w 1312179"/>
              <a:gd name="connsiteY85" fmla="*/ 247650 h 985837"/>
              <a:gd name="connsiteX86" fmla="*/ 102394 w 1312179"/>
              <a:gd name="connsiteY86" fmla="*/ 223837 h 985837"/>
              <a:gd name="connsiteX87" fmla="*/ 97631 w 1312179"/>
              <a:gd name="connsiteY87" fmla="*/ 216693 h 985837"/>
              <a:gd name="connsiteX88" fmla="*/ 92869 w 1312179"/>
              <a:gd name="connsiteY88" fmla="*/ 200025 h 985837"/>
              <a:gd name="connsiteX89" fmla="*/ 88106 w 1312179"/>
              <a:gd name="connsiteY89" fmla="*/ 159543 h 985837"/>
              <a:gd name="connsiteX90" fmla="*/ 90488 w 1312179"/>
              <a:gd name="connsiteY90" fmla="*/ 147637 h 985837"/>
              <a:gd name="connsiteX91" fmla="*/ 104775 w 1312179"/>
              <a:gd name="connsiteY91" fmla="*/ 150018 h 985837"/>
              <a:gd name="connsiteX92" fmla="*/ 119063 w 1312179"/>
              <a:gd name="connsiteY92" fmla="*/ 154781 h 985837"/>
              <a:gd name="connsiteX93" fmla="*/ 123825 w 1312179"/>
              <a:gd name="connsiteY93" fmla="*/ 161925 h 985837"/>
              <a:gd name="connsiteX94" fmla="*/ 130969 w 1312179"/>
              <a:gd name="connsiteY94" fmla="*/ 166687 h 985837"/>
              <a:gd name="connsiteX95" fmla="*/ 140494 w 1312179"/>
              <a:gd name="connsiteY95" fmla="*/ 180975 h 985837"/>
              <a:gd name="connsiteX96" fmla="*/ 145256 w 1312179"/>
              <a:gd name="connsiteY96" fmla="*/ 188118 h 985837"/>
              <a:gd name="connsiteX97" fmla="*/ 150019 w 1312179"/>
              <a:gd name="connsiteY97" fmla="*/ 202406 h 985837"/>
              <a:gd name="connsiteX98" fmla="*/ 159544 w 1312179"/>
              <a:gd name="connsiteY98" fmla="*/ 223837 h 985837"/>
              <a:gd name="connsiteX99" fmla="*/ 161925 w 1312179"/>
              <a:gd name="connsiteY99" fmla="*/ 230981 h 985837"/>
              <a:gd name="connsiteX100" fmla="*/ 164306 w 1312179"/>
              <a:gd name="connsiteY100" fmla="*/ 278606 h 985837"/>
              <a:gd name="connsiteX101" fmla="*/ 176213 w 1312179"/>
              <a:gd name="connsiteY101" fmla="*/ 290512 h 985837"/>
              <a:gd name="connsiteX102" fmla="*/ 190500 w 1312179"/>
              <a:gd name="connsiteY102" fmla="*/ 304800 h 985837"/>
              <a:gd name="connsiteX103" fmla="*/ 204788 w 1312179"/>
              <a:gd name="connsiteY103" fmla="*/ 311943 h 985837"/>
              <a:gd name="connsiteX104" fmla="*/ 219075 w 1312179"/>
              <a:gd name="connsiteY104" fmla="*/ 321468 h 985837"/>
              <a:gd name="connsiteX105" fmla="*/ 235744 w 1312179"/>
              <a:gd name="connsiteY105" fmla="*/ 330993 h 985837"/>
              <a:gd name="connsiteX106" fmla="*/ 242888 w 1312179"/>
              <a:gd name="connsiteY106" fmla="*/ 335756 h 985837"/>
              <a:gd name="connsiteX107" fmla="*/ 283369 w 1312179"/>
              <a:gd name="connsiteY107" fmla="*/ 338137 h 985837"/>
              <a:gd name="connsiteX108" fmla="*/ 290513 w 1312179"/>
              <a:gd name="connsiteY108" fmla="*/ 342900 h 985837"/>
              <a:gd name="connsiteX109" fmla="*/ 302419 w 1312179"/>
              <a:gd name="connsiteY109" fmla="*/ 345281 h 985837"/>
              <a:gd name="connsiteX110" fmla="*/ 309563 w 1312179"/>
              <a:gd name="connsiteY110" fmla="*/ 347662 h 985837"/>
              <a:gd name="connsiteX111" fmla="*/ 323850 w 1312179"/>
              <a:gd name="connsiteY111" fmla="*/ 357187 h 985837"/>
              <a:gd name="connsiteX112" fmla="*/ 338138 w 1312179"/>
              <a:gd name="connsiteY112" fmla="*/ 361950 h 985837"/>
              <a:gd name="connsiteX113" fmla="*/ 352425 w 1312179"/>
              <a:gd name="connsiteY113" fmla="*/ 371475 h 985837"/>
              <a:gd name="connsiteX114" fmla="*/ 359569 w 1312179"/>
              <a:gd name="connsiteY114" fmla="*/ 376237 h 985837"/>
              <a:gd name="connsiteX115" fmla="*/ 373856 w 1312179"/>
              <a:gd name="connsiteY115" fmla="*/ 388143 h 985837"/>
              <a:gd name="connsiteX116" fmla="*/ 385763 w 1312179"/>
              <a:gd name="connsiteY116" fmla="*/ 397668 h 985837"/>
              <a:gd name="connsiteX117" fmla="*/ 400050 w 1312179"/>
              <a:gd name="connsiteY117" fmla="*/ 407193 h 985837"/>
              <a:gd name="connsiteX118" fmla="*/ 416719 w 1312179"/>
              <a:gd name="connsiteY118" fmla="*/ 414337 h 985837"/>
              <a:gd name="connsiteX119" fmla="*/ 431006 w 1312179"/>
              <a:gd name="connsiteY119" fmla="*/ 419100 h 985837"/>
              <a:gd name="connsiteX120" fmla="*/ 438150 w 1312179"/>
              <a:gd name="connsiteY120" fmla="*/ 421481 h 985837"/>
              <a:gd name="connsiteX121" fmla="*/ 447675 w 1312179"/>
              <a:gd name="connsiteY121" fmla="*/ 423862 h 985837"/>
              <a:gd name="connsiteX122" fmla="*/ 461963 w 1312179"/>
              <a:gd name="connsiteY122" fmla="*/ 428625 h 985837"/>
              <a:gd name="connsiteX123" fmla="*/ 469106 w 1312179"/>
              <a:gd name="connsiteY123" fmla="*/ 433387 h 985837"/>
              <a:gd name="connsiteX124" fmla="*/ 473869 w 1312179"/>
              <a:gd name="connsiteY124" fmla="*/ 440531 h 985837"/>
              <a:gd name="connsiteX125" fmla="*/ 488156 w 1312179"/>
              <a:gd name="connsiteY125" fmla="*/ 450056 h 985837"/>
              <a:gd name="connsiteX126" fmla="*/ 500063 w 1312179"/>
              <a:gd name="connsiteY126" fmla="*/ 471487 h 985837"/>
              <a:gd name="connsiteX127" fmla="*/ 504825 w 1312179"/>
              <a:gd name="connsiteY127" fmla="*/ 478631 h 985837"/>
              <a:gd name="connsiteX128" fmla="*/ 511969 w 1312179"/>
              <a:gd name="connsiteY128" fmla="*/ 485775 h 985837"/>
              <a:gd name="connsiteX129" fmla="*/ 516731 w 1312179"/>
              <a:gd name="connsiteY129" fmla="*/ 492918 h 985837"/>
              <a:gd name="connsiteX130" fmla="*/ 523875 w 1312179"/>
              <a:gd name="connsiteY130" fmla="*/ 500062 h 985837"/>
              <a:gd name="connsiteX131" fmla="*/ 533400 w 1312179"/>
              <a:gd name="connsiteY131" fmla="*/ 514350 h 985837"/>
              <a:gd name="connsiteX132" fmla="*/ 538163 w 1312179"/>
              <a:gd name="connsiteY132" fmla="*/ 528637 h 985837"/>
              <a:gd name="connsiteX133" fmla="*/ 542925 w 1312179"/>
              <a:gd name="connsiteY133" fmla="*/ 552450 h 985837"/>
              <a:gd name="connsiteX134" fmla="*/ 547688 w 1312179"/>
              <a:gd name="connsiteY134" fmla="*/ 566737 h 985837"/>
              <a:gd name="connsiteX135" fmla="*/ 552450 w 1312179"/>
              <a:gd name="connsiteY135" fmla="*/ 573881 h 985837"/>
              <a:gd name="connsiteX136" fmla="*/ 559594 w 1312179"/>
              <a:gd name="connsiteY136" fmla="*/ 588168 h 985837"/>
              <a:gd name="connsiteX137" fmla="*/ 566738 w 1312179"/>
              <a:gd name="connsiteY137" fmla="*/ 614362 h 985837"/>
              <a:gd name="connsiteX138" fmla="*/ 573881 w 1312179"/>
              <a:gd name="connsiteY138" fmla="*/ 635793 h 985837"/>
              <a:gd name="connsiteX139" fmla="*/ 576263 w 1312179"/>
              <a:gd name="connsiteY139" fmla="*/ 642937 h 985837"/>
              <a:gd name="connsiteX140" fmla="*/ 583406 w 1312179"/>
              <a:gd name="connsiteY140" fmla="*/ 650081 h 985837"/>
              <a:gd name="connsiteX141" fmla="*/ 595313 w 1312179"/>
              <a:gd name="connsiteY141" fmla="*/ 659606 h 985837"/>
              <a:gd name="connsiteX142" fmla="*/ 597694 w 1312179"/>
              <a:gd name="connsiteY142" fmla="*/ 666750 h 985837"/>
              <a:gd name="connsiteX143" fmla="*/ 607219 w 1312179"/>
              <a:gd name="connsiteY143" fmla="*/ 681037 h 985837"/>
              <a:gd name="connsiteX144" fmla="*/ 611981 w 1312179"/>
              <a:gd name="connsiteY144" fmla="*/ 688181 h 985837"/>
              <a:gd name="connsiteX145" fmla="*/ 616744 w 1312179"/>
              <a:gd name="connsiteY145" fmla="*/ 695325 h 985837"/>
              <a:gd name="connsiteX146" fmla="*/ 621506 w 1312179"/>
              <a:gd name="connsiteY146" fmla="*/ 702468 h 985837"/>
              <a:gd name="connsiteX147" fmla="*/ 631031 w 1312179"/>
              <a:gd name="connsiteY147" fmla="*/ 700087 h 985837"/>
              <a:gd name="connsiteX148" fmla="*/ 642938 w 1312179"/>
              <a:gd name="connsiteY148" fmla="*/ 678656 h 985837"/>
              <a:gd name="connsiteX149" fmla="*/ 645319 w 1312179"/>
              <a:gd name="connsiteY149" fmla="*/ 669131 h 985837"/>
              <a:gd name="connsiteX150" fmla="*/ 640556 w 1312179"/>
              <a:gd name="connsiteY150" fmla="*/ 635793 h 985837"/>
              <a:gd name="connsiteX151" fmla="*/ 638175 w 1312179"/>
              <a:gd name="connsiteY151" fmla="*/ 628650 h 985837"/>
              <a:gd name="connsiteX152" fmla="*/ 631031 w 1312179"/>
              <a:gd name="connsiteY152" fmla="*/ 585787 h 985837"/>
              <a:gd name="connsiteX153" fmla="*/ 626269 w 1312179"/>
              <a:gd name="connsiteY153" fmla="*/ 566737 h 985837"/>
              <a:gd name="connsiteX154" fmla="*/ 614363 w 1312179"/>
              <a:gd name="connsiteY154" fmla="*/ 552450 h 985837"/>
              <a:gd name="connsiteX155" fmla="*/ 609600 w 1312179"/>
              <a:gd name="connsiteY155" fmla="*/ 538162 h 985837"/>
              <a:gd name="connsiteX156" fmla="*/ 604838 w 1312179"/>
              <a:gd name="connsiteY156" fmla="*/ 514350 h 985837"/>
              <a:gd name="connsiteX157" fmla="*/ 602456 w 1312179"/>
              <a:gd name="connsiteY157" fmla="*/ 500062 h 985837"/>
              <a:gd name="connsiteX158" fmla="*/ 595313 w 1312179"/>
              <a:gd name="connsiteY158" fmla="*/ 473868 h 985837"/>
              <a:gd name="connsiteX159" fmla="*/ 592931 w 1312179"/>
              <a:gd name="connsiteY159" fmla="*/ 466725 h 985837"/>
              <a:gd name="connsiteX160" fmla="*/ 585788 w 1312179"/>
              <a:gd name="connsiteY160" fmla="*/ 459581 h 985837"/>
              <a:gd name="connsiteX161" fmla="*/ 581025 w 1312179"/>
              <a:gd name="connsiteY161" fmla="*/ 445293 h 985837"/>
              <a:gd name="connsiteX162" fmla="*/ 576263 w 1312179"/>
              <a:gd name="connsiteY162" fmla="*/ 438150 h 985837"/>
              <a:gd name="connsiteX163" fmla="*/ 571500 w 1312179"/>
              <a:gd name="connsiteY163" fmla="*/ 423862 h 985837"/>
              <a:gd name="connsiteX164" fmla="*/ 564356 w 1312179"/>
              <a:gd name="connsiteY164" fmla="*/ 392906 h 985837"/>
              <a:gd name="connsiteX165" fmla="*/ 559594 w 1312179"/>
              <a:gd name="connsiteY165" fmla="*/ 350043 h 985837"/>
              <a:gd name="connsiteX166" fmla="*/ 554831 w 1312179"/>
              <a:gd name="connsiteY166" fmla="*/ 342900 h 985837"/>
              <a:gd name="connsiteX167" fmla="*/ 552450 w 1312179"/>
              <a:gd name="connsiteY167" fmla="*/ 335756 h 985837"/>
              <a:gd name="connsiteX168" fmla="*/ 542925 w 1312179"/>
              <a:gd name="connsiteY168" fmla="*/ 321468 h 985837"/>
              <a:gd name="connsiteX169" fmla="*/ 540544 w 1312179"/>
              <a:gd name="connsiteY169" fmla="*/ 314325 h 985837"/>
              <a:gd name="connsiteX170" fmla="*/ 526256 w 1312179"/>
              <a:gd name="connsiteY170" fmla="*/ 302418 h 985837"/>
              <a:gd name="connsiteX171" fmla="*/ 511969 w 1312179"/>
              <a:gd name="connsiteY171" fmla="*/ 297656 h 985837"/>
              <a:gd name="connsiteX172" fmla="*/ 497681 w 1312179"/>
              <a:gd name="connsiteY172" fmla="*/ 292893 h 985837"/>
              <a:gd name="connsiteX173" fmla="*/ 490538 w 1312179"/>
              <a:gd name="connsiteY173" fmla="*/ 290512 h 985837"/>
              <a:gd name="connsiteX174" fmla="*/ 478631 w 1312179"/>
              <a:gd name="connsiteY174" fmla="*/ 288131 h 985837"/>
              <a:gd name="connsiteX175" fmla="*/ 471488 w 1312179"/>
              <a:gd name="connsiteY175" fmla="*/ 283368 h 985837"/>
              <a:gd name="connsiteX176" fmla="*/ 464344 w 1312179"/>
              <a:gd name="connsiteY176" fmla="*/ 280987 h 985837"/>
              <a:gd name="connsiteX177" fmla="*/ 450056 w 1312179"/>
              <a:gd name="connsiteY177" fmla="*/ 269081 h 985837"/>
              <a:gd name="connsiteX178" fmla="*/ 442913 w 1312179"/>
              <a:gd name="connsiteY178" fmla="*/ 261937 h 985837"/>
              <a:gd name="connsiteX179" fmla="*/ 435769 w 1312179"/>
              <a:gd name="connsiteY179" fmla="*/ 257175 h 985837"/>
              <a:gd name="connsiteX180" fmla="*/ 431006 w 1312179"/>
              <a:gd name="connsiteY180" fmla="*/ 250031 h 985837"/>
              <a:gd name="connsiteX181" fmla="*/ 407194 w 1312179"/>
              <a:gd name="connsiteY181" fmla="*/ 235743 h 985837"/>
              <a:gd name="connsiteX182" fmla="*/ 400050 w 1312179"/>
              <a:gd name="connsiteY182" fmla="*/ 230981 h 985837"/>
              <a:gd name="connsiteX183" fmla="*/ 385763 w 1312179"/>
              <a:gd name="connsiteY183" fmla="*/ 226218 h 985837"/>
              <a:gd name="connsiteX184" fmla="*/ 381000 w 1312179"/>
              <a:gd name="connsiteY184" fmla="*/ 219075 h 985837"/>
              <a:gd name="connsiteX185" fmla="*/ 371475 w 1312179"/>
              <a:gd name="connsiteY185" fmla="*/ 214312 h 985837"/>
              <a:gd name="connsiteX186" fmla="*/ 364331 w 1312179"/>
              <a:gd name="connsiteY186" fmla="*/ 209550 h 985837"/>
              <a:gd name="connsiteX187" fmla="*/ 350044 w 1312179"/>
              <a:gd name="connsiteY187" fmla="*/ 204787 h 985837"/>
              <a:gd name="connsiteX188" fmla="*/ 335756 w 1312179"/>
              <a:gd name="connsiteY188" fmla="*/ 200025 h 985837"/>
              <a:gd name="connsiteX189" fmla="*/ 328613 w 1312179"/>
              <a:gd name="connsiteY189" fmla="*/ 197643 h 985837"/>
              <a:gd name="connsiteX190" fmla="*/ 319088 w 1312179"/>
              <a:gd name="connsiteY190" fmla="*/ 192881 h 985837"/>
              <a:gd name="connsiteX191" fmla="*/ 311944 w 1312179"/>
              <a:gd name="connsiteY191" fmla="*/ 188118 h 985837"/>
              <a:gd name="connsiteX192" fmla="*/ 297656 w 1312179"/>
              <a:gd name="connsiteY192" fmla="*/ 183356 h 985837"/>
              <a:gd name="connsiteX193" fmla="*/ 290513 w 1312179"/>
              <a:gd name="connsiteY193" fmla="*/ 176212 h 985837"/>
              <a:gd name="connsiteX194" fmla="*/ 285750 w 1312179"/>
              <a:gd name="connsiteY194" fmla="*/ 161925 h 985837"/>
              <a:gd name="connsiteX195" fmla="*/ 271463 w 1312179"/>
              <a:gd name="connsiteY195" fmla="*/ 150018 h 985837"/>
              <a:gd name="connsiteX196" fmla="*/ 278606 w 1312179"/>
              <a:gd name="connsiteY196" fmla="*/ 130968 h 985837"/>
              <a:gd name="connsiteX197" fmla="*/ 288131 w 1312179"/>
              <a:gd name="connsiteY197" fmla="*/ 128587 h 985837"/>
              <a:gd name="connsiteX198" fmla="*/ 311944 w 1312179"/>
              <a:gd name="connsiteY198" fmla="*/ 130968 h 985837"/>
              <a:gd name="connsiteX199" fmla="*/ 319088 w 1312179"/>
              <a:gd name="connsiteY199" fmla="*/ 135731 h 985837"/>
              <a:gd name="connsiteX200" fmla="*/ 328613 w 1312179"/>
              <a:gd name="connsiteY200" fmla="*/ 140493 h 985837"/>
              <a:gd name="connsiteX201" fmla="*/ 342900 w 1312179"/>
              <a:gd name="connsiteY201" fmla="*/ 147637 h 985837"/>
              <a:gd name="connsiteX202" fmla="*/ 364331 w 1312179"/>
              <a:gd name="connsiteY202" fmla="*/ 161925 h 985837"/>
              <a:gd name="connsiteX203" fmla="*/ 371475 w 1312179"/>
              <a:gd name="connsiteY203" fmla="*/ 166687 h 985837"/>
              <a:gd name="connsiteX204" fmla="*/ 385763 w 1312179"/>
              <a:gd name="connsiteY204" fmla="*/ 176212 h 985837"/>
              <a:gd name="connsiteX205" fmla="*/ 397669 w 1312179"/>
              <a:gd name="connsiteY205" fmla="*/ 185737 h 985837"/>
              <a:gd name="connsiteX206" fmla="*/ 404813 w 1312179"/>
              <a:gd name="connsiteY206" fmla="*/ 190500 h 985837"/>
              <a:gd name="connsiteX207" fmla="*/ 419100 w 1312179"/>
              <a:gd name="connsiteY207" fmla="*/ 195262 h 985837"/>
              <a:gd name="connsiteX208" fmla="*/ 426244 w 1312179"/>
              <a:gd name="connsiteY208" fmla="*/ 197643 h 985837"/>
              <a:gd name="connsiteX209" fmla="*/ 442913 w 1312179"/>
              <a:gd name="connsiteY209" fmla="*/ 195262 h 985837"/>
              <a:gd name="connsiteX210" fmla="*/ 433388 w 1312179"/>
              <a:gd name="connsiteY210" fmla="*/ 171450 h 985837"/>
              <a:gd name="connsiteX211" fmla="*/ 431006 w 1312179"/>
              <a:gd name="connsiteY211" fmla="*/ 164306 h 985837"/>
              <a:gd name="connsiteX212" fmla="*/ 423863 w 1312179"/>
              <a:gd name="connsiteY212" fmla="*/ 159543 h 985837"/>
              <a:gd name="connsiteX213" fmla="*/ 409575 w 1312179"/>
              <a:gd name="connsiteY213" fmla="*/ 145256 h 985837"/>
              <a:gd name="connsiteX214" fmla="*/ 395288 w 1312179"/>
              <a:gd name="connsiteY214" fmla="*/ 135731 h 985837"/>
              <a:gd name="connsiteX215" fmla="*/ 388144 w 1312179"/>
              <a:gd name="connsiteY215" fmla="*/ 130968 h 985837"/>
              <a:gd name="connsiteX216" fmla="*/ 381000 w 1312179"/>
              <a:gd name="connsiteY216" fmla="*/ 104775 h 985837"/>
              <a:gd name="connsiteX217" fmla="*/ 388144 w 1312179"/>
              <a:gd name="connsiteY217" fmla="*/ 102393 h 985837"/>
              <a:gd name="connsiteX218" fmla="*/ 426244 w 1312179"/>
              <a:gd name="connsiteY218" fmla="*/ 107156 h 985837"/>
              <a:gd name="connsiteX219" fmla="*/ 433388 w 1312179"/>
              <a:gd name="connsiteY219" fmla="*/ 111918 h 985837"/>
              <a:gd name="connsiteX220" fmla="*/ 440531 w 1312179"/>
              <a:gd name="connsiteY220" fmla="*/ 119062 h 985837"/>
              <a:gd name="connsiteX221" fmla="*/ 454819 w 1312179"/>
              <a:gd name="connsiteY221" fmla="*/ 128587 h 985837"/>
              <a:gd name="connsiteX222" fmla="*/ 461963 w 1312179"/>
              <a:gd name="connsiteY222" fmla="*/ 142875 h 985837"/>
              <a:gd name="connsiteX223" fmla="*/ 466725 w 1312179"/>
              <a:gd name="connsiteY223" fmla="*/ 150018 h 985837"/>
              <a:gd name="connsiteX224" fmla="*/ 469106 w 1312179"/>
              <a:gd name="connsiteY224" fmla="*/ 157162 h 985837"/>
              <a:gd name="connsiteX225" fmla="*/ 478631 w 1312179"/>
              <a:gd name="connsiteY225" fmla="*/ 173831 h 985837"/>
              <a:gd name="connsiteX226" fmla="*/ 483394 w 1312179"/>
              <a:gd name="connsiteY226" fmla="*/ 188118 h 985837"/>
              <a:gd name="connsiteX227" fmla="*/ 488156 w 1312179"/>
              <a:gd name="connsiteY227" fmla="*/ 207168 h 985837"/>
              <a:gd name="connsiteX228" fmla="*/ 502444 w 1312179"/>
              <a:gd name="connsiteY228" fmla="*/ 219075 h 985837"/>
              <a:gd name="connsiteX229" fmla="*/ 507206 w 1312179"/>
              <a:gd name="connsiteY229" fmla="*/ 226218 h 985837"/>
              <a:gd name="connsiteX230" fmla="*/ 528638 w 1312179"/>
              <a:gd name="connsiteY230" fmla="*/ 238125 h 985837"/>
              <a:gd name="connsiteX231" fmla="*/ 535781 w 1312179"/>
              <a:gd name="connsiteY231" fmla="*/ 245268 h 985837"/>
              <a:gd name="connsiteX232" fmla="*/ 545306 w 1312179"/>
              <a:gd name="connsiteY232" fmla="*/ 247650 h 985837"/>
              <a:gd name="connsiteX233" fmla="*/ 564356 w 1312179"/>
              <a:gd name="connsiteY233" fmla="*/ 252412 h 985837"/>
              <a:gd name="connsiteX234" fmla="*/ 590550 w 1312179"/>
              <a:gd name="connsiteY234" fmla="*/ 240506 h 985837"/>
              <a:gd name="connsiteX235" fmla="*/ 592931 w 1312179"/>
              <a:gd name="connsiteY235" fmla="*/ 233362 h 985837"/>
              <a:gd name="connsiteX236" fmla="*/ 588169 w 1312179"/>
              <a:gd name="connsiteY236" fmla="*/ 209550 h 985837"/>
              <a:gd name="connsiteX237" fmla="*/ 578644 w 1312179"/>
              <a:gd name="connsiteY237" fmla="*/ 195262 h 985837"/>
              <a:gd name="connsiteX238" fmla="*/ 557213 w 1312179"/>
              <a:gd name="connsiteY238" fmla="*/ 178593 h 985837"/>
              <a:gd name="connsiteX239" fmla="*/ 552450 w 1312179"/>
              <a:gd name="connsiteY239" fmla="*/ 164306 h 985837"/>
              <a:gd name="connsiteX240" fmla="*/ 550069 w 1312179"/>
              <a:gd name="connsiteY240" fmla="*/ 157162 h 985837"/>
              <a:gd name="connsiteX241" fmla="*/ 545306 w 1312179"/>
              <a:gd name="connsiteY241" fmla="*/ 150018 h 985837"/>
              <a:gd name="connsiteX242" fmla="*/ 540544 w 1312179"/>
              <a:gd name="connsiteY242" fmla="*/ 95250 h 985837"/>
              <a:gd name="connsiteX243" fmla="*/ 535781 w 1312179"/>
              <a:gd name="connsiteY243" fmla="*/ 78581 h 985837"/>
              <a:gd name="connsiteX244" fmla="*/ 533400 w 1312179"/>
              <a:gd name="connsiteY244" fmla="*/ 64293 h 985837"/>
              <a:gd name="connsiteX245" fmla="*/ 528638 w 1312179"/>
              <a:gd name="connsiteY245" fmla="*/ 21431 h 985837"/>
              <a:gd name="connsiteX246" fmla="*/ 545306 w 1312179"/>
              <a:gd name="connsiteY246" fmla="*/ 11906 h 985837"/>
              <a:gd name="connsiteX247" fmla="*/ 554831 w 1312179"/>
              <a:gd name="connsiteY247" fmla="*/ 4762 h 985837"/>
              <a:gd name="connsiteX248" fmla="*/ 561975 w 1312179"/>
              <a:gd name="connsiteY248" fmla="*/ 0 h 985837"/>
              <a:gd name="connsiteX249" fmla="*/ 583406 w 1312179"/>
              <a:gd name="connsiteY249" fmla="*/ 9525 h 985837"/>
              <a:gd name="connsiteX250" fmla="*/ 592931 w 1312179"/>
              <a:gd name="connsiteY250" fmla="*/ 30956 h 985837"/>
              <a:gd name="connsiteX251" fmla="*/ 595313 w 1312179"/>
              <a:gd name="connsiteY251" fmla="*/ 80962 h 985837"/>
              <a:gd name="connsiteX252" fmla="*/ 597694 w 1312179"/>
              <a:gd name="connsiteY252" fmla="*/ 142875 h 985837"/>
              <a:gd name="connsiteX253" fmla="*/ 609600 w 1312179"/>
              <a:gd name="connsiteY253" fmla="*/ 161925 h 985837"/>
              <a:gd name="connsiteX254" fmla="*/ 616744 w 1312179"/>
              <a:gd name="connsiteY254" fmla="*/ 169068 h 985837"/>
              <a:gd name="connsiteX255" fmla="*/ 623888 w 1312179"/>
              <a:gd name="connsiteY255" fmla="*/ 183356 h 985837"/>
              <a:gd name="connsiteX256" fmla="*/ 628650 w 1312179"/>
              <a:gd name="connsiteY256" fmla="*/ 190500 h 985837"/>
              <a:gd name="connsiteX257" fmla="*/ 638175 w 1312179"/>
              <a:gd name="connsiteY257" fmla="*/ 211931 h 985837"/>
              <a:gd name="connsiteX258" fmla="*/ 642938 w 1312179"/>
              <a:gd name="connsiteY258" fmla="*/ 242887 h 985837"/>
              <a:gd name="connsiteX259" fmla="*/ 640556 w 1312179"/>
              <a:gd name="connsiteY259" fmla="*/ 264318 h 985837"/>
              <a:gd name="connsiteX260" fmla="*/ 631031 w 1312179"/>
              <a:gd name="connsiteY260" fmla="*/ 278606 h 985837"/>
              <a:gd name="connsiteX261" fmla="*/ 626269 w 1312179"/>
              <a:gd name="connsiteY261" fmla="*/ 285750 h 985837"/>
              <a:gd name="connsiteX262" fmla="*/ 616744 w 1312179"/>
              <a:gd name="connsiteY262" fmla="*/ 300037 h 985837"/>
              <a:gd name="connsiteX263" fmla="*/ 611981 w 1312179"/>
              <a:gd name="connsiteY263" fmla="*/ 314325 h 985837"/>
              <a:gd name="connsiteX264" fmla="*/ 609600 w 1312179"/>
              <a:gd name="connsiteY264" fmla="*/ 321468 h 985837"/>
              <a:gd name="connsiteX265" fmla="*/ 614363 w 1312179"/>
              <a:gd name="connsiteY265" fmla="*/ 347662 h 985837"/>
              <a:gd name="connsiteX266" fmla="*/ 621506 w 1312179"/>
              <a:gd name="connsiteY266" fmla="*/ 364331 h 985837"/>
              <a:gd name="connsiteX267" fmla="*/ 628650 w 1312179"/>
              <a:gd name="connsiteY267" fmla="*/ 385762 h 985837"/>
              <a:gd name="connsiteX268" fmla="*/ 633413 w 1312179"/>
              <a:gd name="connsiteY268" fmla="*/ 402431 h 985837"/>
              <a:gd name="connsiteX269" fmla="*/ 638175 w 1312179"/>
              <a:gd name="connsiteY269" fmla="*/ 416718 h 985837"/>
              <a:gd name="connsiteX270" fmla="*/ 642938 w 1312179"/>
              <a:gd name="connsiteY270" fmla="*/ 423862 h 985837"/>
              <a:gd name="connsiteX271" fmla="*/ 647700 w 1312179"/>
              <a:gd name="connsiteY271" fmla="*/ 438150 h 985837"/>
              <a:gd name="connsiteX272" fmla="*/ 657225 w 1312179"/>
              <a:gd name="connsiteY272" fmla="*/ 452437 h 985837"/>
              <a:gd name="connsiteX273" fmla="*/ 659606 w 1312179"/>
              <a:gd name="connsiteY273" fmla="*/ 459581 h 985837"/>
              <a:gd name="connsiteX274" fmla="*/ 664369 w 1312179"/>
              <a:gd name="connsiteY274" fmla="*/ 466725 h 985837"/>
              <a:gd name="connsiteX275" fmla="*/ 678656 w 1312179"/>
              <a:gd name="connsiteY275" fmla="*/ 473868 h 985837"/>
              <a:gd name="connsiteX276" fmla="*/ 704850 w 1312179"/>
              <a:gd name="connsiteY276" fmla="*/ 466725 h 985837"/>
              <a:gd name="connsiteX277" fmla="*/ 716756 w 1312179"/>
              <a:gd name="connsiteY277" fmla="*/ 445293 h 985837"/>
              <a:gd name="connsiteX278" fmla="*/ 719138 w 1312179"/>
              <a:gd name="connsiteY278" fmla="*/ 435768 h 985837"/>
              <a:gd name="connsiteX279" fmla="*/ 716756 w 1312179"/>
              <a:gd name="connsiteY279" fmla="*/ 378618 h 985837"/>
              <a:gd name="connsiteX280" fmla="*/ 723900 w 1312179"/>
              <a:gd name="connsiteY280" fmla="*/ 323850 h 985837"/>
              <a:gd name="connsiteX281" fmla="*/ 728663 w 1312179"/>
              <a:gd name="connsiteY281" fmla="*/ 316706 h 985837"/>
              <a:gd name="connsiteX282" fmla="*/ 731044 w 1312179"/>
              <a:gd name="connsiteY282" fmla="*/ 309562 h 985837"/>
              <a:gd name="connsiteX283" fmla="*/ 742950 w 1312179"/>
              <a:gd name="connsiteY283" fmla="*/ 295275 h 985837"/>
              <a:gd name="connsiteX284" fmla="*/ 747713 w 1312179"/>
              <a:gd name="connsiteY284" fmla="*/ 288131 h 985837"/>
              <a:gd name="connsiteX285" fmla="*/ 750094 w 1312179"/>
              <a:gd name="connsiteY285" fmla="*/ 280987 h 985837"/>
              <a:gd name="connsiteX286" fmla="*/ 754856 w 1312179"/>
              <a:gd name="connsiteY286" fmla="*/ 273843 h 985837"/>
              <a:gd name="connsiteX287" fmla="*/ 762000 w 1312179"/>
              <a:gd name="connsiteY287" fmla="*/ 250031 h 985837"/>
              <a:gd name="connsiteX288" fmla="*/ 769144 w 1312179"/>
              <a:gd name="connsiteY288" fmla="*/ 245268 h 985837"/>
              <a:gd name="connsiteX289" fmla="*/ 773906 w 1312179"/>
              <a:gd name="connsiteY289" fmla="*/ 238125 h 985837"/>
              <a:gd name="connsiteX290" fmla="*/ 781050 w 1312179"/>
              <a:gd name="connsiteY290" fmla="*/ 233362 h 985837"/>
              <a:gd name="connsiteX291" fmla="*/ 788194 w 1312179"/>
              <a:gd name="connsiteY291" fmla="*/ 226218 h 985837"/>
              <a:gd name="connsiteX292" fmla="*/ 792956 w 1312179"/>
              <a:gd name="connsiteY292" fmla="*/ 211931 h 985837"/>
              <a:gd name="connsiteX293" fmla="*/ 795338 w 1312179"/>
              <a:gd name="connsiteY293" fmla="*/ 204787 h 985837"/>
              <a:gd name="connsiteX294" fmla="*/ 797719 w 1312179"/>
              <a:gd name="connsiteY294" fmla="*/ 192881 h 985837"/>
              <a:gd name="connsiteX295" fmla="*/ 790575 w 1312179"/>
              <a:gd name="connsiteY295" fmla="*/ 164306 h 985837"/>
              <a:gd name="connsiteX296" fmla="*/ 781050 w 1312179"/>
              <a:gd name="connsiteY296" fmla="*/ 157162 h 985837"/>
              <a:gd name="connsiteX297" fmla="*/ 776288 w 1312179"/>
              <a:gd name="connsiteY297" fmla="*/ 150018 h 985837"/>
              <a:gd name="connsiteX298" fmla="*/ 769144 w 1312179"/>
              <a:gd name="connsiteY298" fmla="*/ 145256 h 985837"/>
              <a:gd name="connsiteX299" fmla="*/ 771525 w 1312179"/>
              <a:gd name="connsiteY299" fmla="*/ 121443 h 985837"/>
              <a:gd name="connsiteX300" fmla="*/ 773906 w 1312179"/>
              <a:gd name="connsiteY300" fmla="*/ 114300 h 985837"/>
              <a:gd name="connsiteX301" fmla="*/ 788194 w 1312179"/>
              <a:gd name="connsiteY301" fmla="*/ 104775 h 985837"/>
              <a:gd name="connsiteX302" fmla="*/ 800100 w 1312179"/>
              <a:gd name="connsiteY302" fmla="*/ 107156 h 985837"/>
              <a:gd name="connsiteX303" fmla="*/ 816769 w 1312179"/>
              <a:gd name="connsiteY303" fmla="*/ 119062 h 985837"/>
              <a:gd name="connsiteX304" fmla="*/ 821531 w 1312179"/>
              <a:gd name="connsiteY304" fmla="*/ 126206 h 985837"/>
              <a:gd name="connsiteX305" fmla="*/ 828675 w 1312179"/>
              <a:gd name="connsiteY305" fmla="*/ 157162 h 985837"/>
              <a:gd name="connsiteX306" fmla="*/ 835819 w 1312179"/>
              <a:gd name="connsiteY306" fmla="*/ 166687 h 985837"/>
              <a:gd name="connsiteX307" fmla="*/ 847725 w 1312179"/>
              <a:gd name="connsiteY307" fmla="*/ 176212 h 985837"/>
              <a:gd name="connsiteX308" fmla="*/ 854869 w 1312179"/>
              <a:gd name="connsiteY308" fmla="*/ 180975 h 985837"/>
              <a:gd name="connsiteX309" fmla="*/ 873919 w 1312179"/>
              <a:gd name="connsiteY309" fmla="*/ 171450 h 985837"/>
              <a:gd name="connsiteX310" fmla="*/ 883444 w 1312179"/>
              <a:gd name="connsiteY310" fmla="*/ 157162 h 985837"/>
              <a:gd name="connsiteX311" fmla="*/ 897731 w 1312179"/>
              <a:gd name="connsiteY311" fmla="*/ 142875 h 985837"/>
              <a:gd name="connsiteX312" fmla="*/ 902494 w 1312179"/>
              <a:gd name="connsiteY312" fmla="*/ 128587 h 985837"/>
              <a:gd name="connsiteX313" fmla="*/ 904875 w 1312179"/>
              <a:gd name="connsiteY313" fmla="*/ 119062 h 985837"/>
              <a:gd name="connsiteX314" fmla="*/ 909638 w 1312179"/>
              <a:gd name="connsiteY314" fmla="*/ 111918 h 985837"/>
              <a:gd name="connsiteX315" fmla="*/ 914400 w 1312179"/>
              <a:gd name="connsiteY315" fmla="*/ 92868 h 985837"/>
              <a:gd name="connsiteX316" fmla="*/ 919163 w 1312179"/>
              <a:gd name="connsiteY316" fmla="*/ 78581 h 985837"/>
              <a:gd name="connsiteX317" fmla="*/ 921544 w 1312179"/>
              <a:gd name="connsiteY317" fmla="*/ 71437 h 985837"/>
              <a:gd name="connsiteX318" fmla="*/ 926306 w 1312179"/>
              <a:gd name="connsiteY318" fmla="*/ 64293 h 985837"/>
              <a:gd name="connsiteX319" fmla="*/ 940594 w 1312179"/>
              <a:gd name="connsiteY319" fmla="*/ 50006 h 985837"/>
              <a:gd name="connsiteX320" fmla="*/ 952500 w 1312179"/>
              <a:gd name="connsiteY320" fmla="*/ 38100 h 985837"/>
              <a:gd name="connsiteX321" fmla="*/ 962025 w 1312179"/>
              <a:gd name="connsiteY321" fmla="*/ 26193 h 985837"/>
              <a:gd name="connsiteX322" fmla="*/ 976313 w 1312179"/>
              <a:gd name="connsiteY322" fmla="*/ 14287 h 985837"/>
              <a:gd name="connsiteX323" fmla="*/ 985838 w 1312179"/>
              <a:gd name="connsiteY323" fmla="*/ 11906 h 985837"/>
              <a:gd name="connsiteX324" fmla="*/ 1007269 w 1312179"/>
              <a:gd name="connsiteY324" fmla="*/ 14287 h 985837"/>
              <a:gd name="connsiteX325" fmla="*/ 1007269 w 1312179"/>
              <a:gd name="connsiteY325" fmla="*/ 35718 h 985837"/>
              <a:gd name="connsiteX326" fmla="*/ 1000125 w 1312179"/>
              <a:gd name="connsiteY326" fmla="*/ 57150 h 985837"/>
              <a:gd name="connsiteX327" fmla="*/ 997744 w 1312179"/>
              <a:gd name="connsiteY327" fmla="*/ 64293 h 985837"/>
              <a:gd name="connsiteX328" fmla="*/ 992981 w 1312179"/>
              <a:gd name="connsiteY328" fmla="*/ 71437 h 985837"/>
              <a:gd name="connsiteX329" fmla="*/ 985838 w 1312179"/>
              <a:gd name="connsiteY329" fmla="*/ 85725 h 985837"/>
              <a:gd name="connsiteX330" fmla="*/ 981075 w 1312179"/>
              <a:gd name="connsiteY330" fmla="*/ 102393 h 985837"/>
              <a:gd name="connsiteX331" fmla="*/ 978694 w 1312179"/>
              <a:gd name="connsiteY331" fmla="*/ 109537 h 985837"/>
              <a:gd name="connsiteX332" fmla="*/ 969169 w 1312179"/>
              <a:gd name="connsiteY332" fmla="*/ 123825 h 985837"/>
              <a:gd name="connsiteX333" fmla="*/ 964406 w 1312179"/>
              <a:gd name="connsiteY333" fmla="*/ 142875 h 985837"/>
              <a:gd name="connsiteX334" fmla="*/ 952500 w 1312179"/>
              <a:gd name="connsiteY334" fmla="*/ 157162 h 985837"/>
              <a:gd name="connsiteX335" fmla="*/ 947738 w 1312179"/>
              <a:gd name="connsiteY335" fmla="*/ 164306 h 985837"/>
              <a:gd name="connsiteX336" fmla="*/ 933450 w 1312179"/>
              <a:gd name="connsiteY336" fmla="*/ 176212 h 985837"/>
              <a:gd name="connsiteX337" fmla="*/ 926306 w 1312179"/>
              <a:gd name="connsiteY337" fmla="*/ 178593 h 985837"/>
              <a:gd name="connsiteX338" fmla="*/ 909638 w 1312179"/>
              <a:gd name="connsiteY338" fmla="*/ 185737 h 985837"/>
              <a:gd name="connsiteX339" fmla="*/ 895350 w 1312179"/>
              <a:gd name="connsiteY339" fmla="*/ 195262 h 985837"/>
              <a:gd name="connsiteX340" fmla="*/ 873919 w 1312179"/>
              <a:gd name="connsiteY340" fmla="*/ 209550 h 985837"/>
              <a:gd name="connsiteX341" fmla="*/ 866775 w 1312179"/>
              <a:gd name="connsiteY341" fmla="*/ 214312 h 985837"/>
              <a:gd name="connsiteX342" fmla="*/ 850106 w 1312179"/>
              <a:gd name="connsiteY342" fmla="*/ 223837 h 985837"/>
              <a:gd name="connsiteX343" fmla="*/ 840581 w 1312179"/>
              <a:gd name="connsiteY343" fmla="*/ 235743 h 985837"/>
              <a:gd name="connsiteX344" fmla="*/ 838200 w 1312179"/>
              <a:gd name="connsiteY344" fmla="*/ 242887 h 985837"/>
              <a:gd name="connsiteX345" fmla="*/ 831056 w 1312179"/>
              <a:gd name="connsiteY345" fmla="*/ 247650 h 985837"/>
              <a:gd name="connsiteX346" fmla="*/ 823913 w 1312179"/>
              <a:gd name="connsiteY346" fmla="*/ 254793 h 985837"/>
              <a:gd name="connsiteX347" fmla="*/ 814388 w 1312179"/>
              <a:gd name="connsiteY347" fmla="*/ 269081 h 985837"/>
              <a:gd name="connsiteX348" fmla="*/ 812006 w 1312179"/>
              <a:gd name="connsiteY348" fmla="*/ 276225 h 985837"/>
              <a:gd name="connsiteX349" fmla="*/ 804863 w 1312179"/>
              <a:gd name="connsiteY349" fmla="*/ 280987 h 985837"/>
              <a:gd name="connsiteX350" fmla="*/ 797719 w 1312179"/>
              <a:gd name="connsiteY350" fmla="*/ 295275 h 985837"/>
              <a:gd name="connsiteX351" fmla="*/ 792956 w 1312179"/>
              <a:gd name="connsiteY351" fmla="*/ 309562 h 985837"/>
              <a:gd name="connsiteX352" fmla="*/ 790575 w 1312179"/>
              <a:gd name="connsiteY352" fmla="*/ 316706 h 985837"/>
              <a:gd name="connsiteX353" fmla="*/ 783431 w 1312179"/>
              <a:gd name="connsiteY353" fmla="*/ 326231 h 985837"/>
              <a:gd name="connsiteX354" fmla="*/ 776288 w 1312179"/>
              <a:gd name="connsiteY354" fmla="*/ 357187 h 985837"/>
              <a:gd name="connsiteX355" fmla="*/ 771525 w 1312179"/>
              <a:gd name="connsiteY355" fmla="*/ 371475 h 985837"/>
              <a:gd name="connsiteX356" fmla="*/ 769144 w 1312179"/>
              <a:gd name="connsiteY356" fmla="*/ 383381 h 985837"/>
              <a:gd name="connsiteX357" fmla="*/ 766763 w 1312179"/>
              <a:gd name="connsiteY357" fmla="*/ 397668 h 985837"/>
              <a:gd name="connsiteX358" fmla="*/ 764381 w 1312179"/>
              <a:gd name="connsiteY358" fmla="*/ 407193 h 985837"/>
              <a:gd name="connsiteX359" fmla="*/ 762000 w 1312179"/>
              <a:gd name="connsiteY359" fmla="*/ 421481 h 985837"/>
              <a:gd name="connsiteX360" fmla="*/ 759619 w 1312179"/>
              <a:gd name="connsiteY360" fmla="*/ 461962 h 985837"/>
              <a:gd name="connsiteX361" fmla="*/ 757238 w 1312179"/>
              <a:gd name="connsiteY361" fmla="*/ 478631 h 985837"/>
              <a:gd name="connsiteX362" fmla="*/ 759619 w 1312179"/>
              <a:gd name="connsiteY362" fmla="*/ 592931 h 985837"/>
              <a:gd name="connsiteX363" fmla="*/ 769144 w 1312179"/>
              <a:gd name="connsiteY363" fmla="*/ 757237 h 985837"/>
              <a:gd name="connsiteX364" fmla="*/ 792956 w 1312179"/>
              <a:gd name="connsiteY364" fmla="*/ 750093 h 985837"/>
              <a:gd name="connsiteX365" fmla="*/ 802481 w 1312179"/>
              <a:gd name="connsiteY365" fmla="*/ 742950 h 985837"/>
              <a:gd name="connsiteX366" fmla="*/ 812006 w 1312179"/>
              <a:gd name="connsiteY366" fmla="*/ 731043 h 985837"/>
              <a:gd name="connsiteX367" fmla="*/ 821531 w 1312179"/>
              <a:gd name="connsiteY367" fmla="*/ 716756 h 985837"/>
              <a:gd name="connsiteX368" fmla="*/ 833438 w 1312179"/>
              <a:gd name="connsiteY368" fmla="*/ 697706 h 985837"/>
              <a:gd name="connsiteX369" fmla="*/ 842963 w 1312179"/>
              <a:gd name="connsiteY369" fmla="*/ 683418 h 985837"/>
              <a:gd name="connsiteX370" fmla="*/ 845344 w 1312179"/>
              <a:gd name="connsiteY370" fmla="*/ 676275 h 985837"/>
              <a:gd name="connsiteX371" fmla="*/ 852488 w 1312179"/>
              <a:gd name="connsiteY371" fmla="*/ 671512 h 985837"/>
              <a:gd name="connsiteX372" fmla="*/ 857250 w 1312179"/>
              <a:gd name="connsiteY372" fmla="*/ 657225 h 985837"/>
              <a:gd name="connsiteX373" fmla="*/ 864394 w 1312179"/>
              <a:gd name="connsiteY373" fmla="*/ 642937 h 985837"/>
              <a:gd name="connsiteX374" fmla="*/ 871538 w 1312179"/>
              <a:gd name="connsiteY374" fmla="*/ 638175 h 985837"/>
              <a:gd name="connsiteX375" fmla="*/ 878681 w 1312179"/>
              <a:gd name="connsiteY375" fmla="*/ 623887 h 985837"/>
              <a:gd name="connsiteX376" fmla="*/ 885825 w 1312179"/>
              <a:gd name="connsiteY376" fmla="*/ 609600 h 985837"/>
              <a:gd name="connsiteX377" fmla="*/ 892969 w 1312179"/>
              <a:gd name="connsiteY377" fmla="*/ 588168 h 985837"/>
              <a:gd name="connsiteX378" fmla="*/ 895350 w 1312179"/>
              <a:gd name="connsiteY378" fmla="*/ 581025 h 985837"/>
              <a:gd name="connsiteX379" fmla="*/ 897731 w 1312179"/>
              <a:gd name="connsiteY379" fmla="*/ 569118 h 985837"/>
              <a:gd name="connsiteX380" fmla="*/ 900113 w 1312179"/>
              <a:gd name="connsiteY380" fmla="*/ 550068 h 985837"/>
              <a:gd name="connsiteX381" fmla="*/ 904875 w 1312179"/>
              <a:gd name="connsiteY381" fmla="*/ 533400 h 985837"/>
              <a:gd name="connsiteX382" fmla="*/ 909638 w 1312179"/>
              <a:gd name="connsiteY382" fmla="*/ 516731 h 985837"/>
              <a:gd name="connsiteX383" fmla="*/ 926306 w 1312179"/>
              <a:gd name="connsiteY383" fmla="*/ 495300 h 985837"/>
              <a:gd name="connsiteX384" fmla="*/ 933450 w 1312179"/>
              <a:gd name="connsiteY384" fmla="*/ 490537 h 985837"/>
              <a:gd name="connsiteX385" fmla="*/ 945356 w 1312179"/>
              <a:gd name="connsiteY385" fmla="*/ 478631 h 985837"/>
              <a:gd name="connsiteX386" fmla="*/ 957263 w 1312179"/>
              <a:gd name="connsiteY386" fmla="*/ 469106 h 985837"/>
              <a:gd name="connsiteX387" fmla="*/ 978694 w 1312179"/>
              <a:gd name="connsiteY387" fmla="*/ 459581 h 985837"/>
              <a:gd name="connsiteX388" fmla="*/ 985838 w 1312179"/>
              <a:gd name="connsiteY388" fmla="*/ 457200 h 985837"/>
              <a:gd name="connsiteX389" fmla="*/ 992981 w 1312179"/>
              <a:gd name="connsiteY389" fmla="*/ 454818 h 985837"/>
              <a:gd name="connsiteX390" fmla="*/ 1000125 w 1312179"/>
              <a:gd name="connsiteY390" fmla="*/ 447675 h 985837"/>
              <a:gd name="connsiteX391" fmla="*/ 1007269 w 1312179"/>
              <a:gd name="connsiteY391" fmla="*/ 445293 h 985837"/>
              <a:gd name="connsiteX392" fmla="*/ 1026319 w 1312179"/>
              <a:gd name="connsiteY392" fmla="*/ 440531 h 985837"/>
              <a:gd name="connsiteX393" fmla="*/ 1047750 w 1312179"/>
              <a:gd name="connsiteY393" fmla="*/ 423862 h 985837"/>
              <a:gd name="connsiteX394" fmla="*/ 1052513 w 1312179"/>
              <a:gd name="connsiteY394" fmla="*/ 416718 h 985837"/>
              <a:gd name="connsiteX395" fmla="*/ 1057275 w 1312179"/>
              <a:gd name="connsiteY395" fmla="*/ 397668 h 985837"/>
              <a:gd name="connsiteX396" fmla="*/ 1059656 w 1312179"/>
              <a:gd name="connsiteY396" fmla="*/ 390525 h 985837"/>
              <a:gd name="connsiteX397" fmla="*/ 1062038 w 1312179"/>
              <a:gd name="connsiteY397" fmla="*/ 350043 h 985837"/>
              <a:gd name="connsiteX398" fmla="*/ 1066800 w 1312179"/>
              <a:gd name="connsiteY398" fmla="*/ 330993 h 985837"/>
              <a:gd name="connsiteX399" fmla="*/ 1071563 w 1312179"/>
              <a:gd name="connsiteY399" fmla="*/ 316706 h 985837"/>
              <a:gd name="connsiteX400" fmla="*/ 1073944 w 1312179"/>
              <a:gd name="connsiteY400" fmla="*/ 247650 h 985837"/>
              <a:gd name="connsiteX401" fmla="*/ 1076325 w 1312179"/>
              <a:gd name="connsiteY401" fmla="*/ 240506 h 985837"/>
              <a:gd name="connsiteX402" fmla="*/ 1078706 w 1312179"/>
              <a:gd name="connsiteY402" fmla="*/ 230981 h 985837"/>
              <a:gd name="connsiteX403" fmla="*/ 1081088 w 1312179"/>
              <a:gd name="connsiteY403" fmla="*/ 223837 h 985837"/>
              <a:gd name="connsiteX404" fmla="*/ 1088231 w 1312179"/>
              <a:gd name="connsiteY404" fmla="*/ 216693 h 985837"/>
              <a:gd name="connsiteX405" fmla="*/ 1090613 w 1312179"/>
              <a:gd name="connsiteY405" fmla="*/ 209550 h 985837"/>
              <a:gd name="connsiteX406" fmla="*/ 1104900 w 1312179"/>
              <a:gd name="connsiteY406" fmla="*/ 209550 h 985837"/>
              <a:gd name="connsiteX407" fmla="*/ 1119188 w 1312179"/>
              <a:gd name="connsiteY407" fmla="*/ 221456 h 985837"/>
              <a:gd name="connsiteX408" fmla="*/ 1123950 w 1312179"/>
              <a:gd name="connsiteY408" fmla="*/ 228600 h 985837"/>
              <a:gd name="connsiteX409" fmla="*/ 1119188 w 1312179"/>
              <a:gd name="connsiteY409" fmla="*/ 297656 h 985837"/>
              <a:gd name="connsiteX410" fmla="*/ 1116806 w 1312179"/>
              <a:gd name="connsiteY410" fmla="*/ 307181 h 985837"/>
              <a:gd name="connsiteX411" fmla="*/ 1114425 w 1312179"/>
              <a:gd name="connsiteY411" fmla="*/ 328612 h 985837"/>
              <a:gd name="connsiteX412" fmla="*/ 1112044 w 1312179"/>
              <a:gd name="connsiteY412" fmla="*/ 357187 h 985837"/>
              <a:gd name="connsiteX413" fmla="*/ 1109663 w 1312179"/>
              <a:gd name="connsiteY413" fmla="*/ 364331 h 985837"/>
              <a:gd name="connsiteX414" fmla="*/ 1107281 w 1312179"/>
              <a:gd name="connsiteY414" fmla="*/ 373856 h 985837"/>
              <a:gd name="connsiteX415" fmla="*/ 1100138 w 1312179"/>
              <a:gd name="connsiteY415" fmla="*/ 388143 h 985837"/>
              <a:gd name="connsiteX416" fmla="*/ 1095375 w 1312179"/>
              <a:gd name="connsiteY416" fmla="*/ 404812 h 985837"/>
              <a:gd name="connsiteX417" fmla="*/ 1090613 w 1312179"/>
              <a:gd name="connsiteY417" fmla="*/ 411956 h 985837"/>
              <a:gd name="connsiteX418" fmla="*/ 1085850 w 1312179"/>
              <a:gd name="connsiteY418" fmla="*/ 426243 h 985837"/>
              <a:gd name="connsiteX419" fmla="*/ 1083469 w 1312179"/>
              <a:gd name="connsiteY419" fmla="*/ 433387 h 985837"/>
              <a:gd name="connsiteX420" fmla="*/ 1085850 w 1312179"/>
              <a:gd name="connsiteY420" fmla="*/ 452437 h 985837"/>
              <a:gd name="connsiteX421" fmla="*/ 1109663 w 1312179"/>
              <a:gd name="connsiteY421" fmla="*/ 447675 h 985837"/>
              <a:gd name="connsiteX422" fmla="*/ 1123950 w 1312179"/>
              <a:gd name="connsiteY422" fmla="*/ 435768 h 985837"/>
              <a:gd name="connsiteX423" fmla="*/ 1138238 w 1312179"/>
              <a:gd name="connsiteY423" fmla="*/ 431006 h 985837"/>
              <a:gd name="connsiteX424" fmla="*/ 1145381 w 1312179"/>
              <a:gd name="connsiteY424" fmla="*/ 428625 h 985837"/>
              <a:gd name="connsiteX425" fmla="*/ 1152525 w 1312179"/>
              <a:gd name="connsiteY425" fmla="*/ 423862 h 985837"/>
              <a:gd name="connsiteX426" fmla="*/ 1159669 w 1312179"/>
              <a:gd name="connsiteY426" fmla="*/ 421481 h 985837"/>
              <a:gd name="connsiteX427" fmla="*/ 1166813 w 1312179"/>
              <a:gd name="connsiteY427" fmla="*/ 414337 h 985837"/>
              <a:gd name="connsiteX428" fmla="*/ 1181100 w 1312179"/>
              <a:gd name="connsiteY428" fmla="*/ 411956 h 985837"/>
              <a:gd name="connsiteX429" fmla="*/ 1195388 w 1312179"/>
              <a:gd name="connsiteY429" fmla="*/ 407193 h 985837"/>
              <a:gd name="connsiteX430" fmla="*/ 1212056 w 1312179"/>
              <a:gd name="connsiteY430" fmla="*/ 385762 h 985837"/>
              <a:gd name="connsiteX431" fmla="*/ 1221581 w 1312179"/>
              <a:gd name="connsiteY431" fmla="*/ 371475 h 985837"/>
              <a:gd name="connsiteX432" fmla="*/ 1223963 w 1312179"/>
              <a:gd name="connsiteY432" fmla="*/ 364331 h 985837"/>
              <a:gd name="connsiteX433" fmla="*/ 1231106 w 1312179"/>
              <a:gd name="connsiteY433" fmla="*/ 357187 h 985837"/>
              <a:gd name="connsiteX434" fmla="*/ 1235869 w 1312179"/>
              <a:gd name="connsiteY434" fmla="*/ 347662 h 985837"/>
              <a:gd name="connsiteX435" fmla="*/ 1240631 w 1312179"/>
              <a:gd name="connsiteY435" fmla="*/ 340518 h 985837"/>
              <a:gd name="connsiteX436" fmla="*/ 1243013 w 1312179"/>
              <a:gd name="connsiteY436" fmla="*/ 330993 h 985837"/>
              <a:gd name="connsiteX437" fmla="*/ 1254919 w 1312179"/>
              <a:gd name="connsiteY437" fmla="*/ 316706 h 985837"/>
              <a:gd name="connsiteX438" fmla="*/ 1266825 w 1312179"/>
              <a:gd name="connsiteY438" fmla="*/ 311943 h 985837"/>
              <a:gd name="connsiteX439" fmla="*/ 1271588 w 1312179"/>
              <a:gd name="connsiteY439" fmla="*/ 304800 h 985837"/>
              <a:gd name="connsiteX440" fmla="*/ 1302544 w 1312179"/>
              <a:gd name="connsiteY440" fmla="*/ 304800 h 985837"/>
              <a:gd name="connsiteX441" fmla="*/ 1309688 w 1312179"/>
              <a:gd name="connsiteY441" fmla="*/ 311943 h 985837"/>
              <a:gd name="connsiteX442" fmla="*/ 1309688 w 1312179"/>
              <a:gd name="connsiteY442" fmla="*/ 333375 h 985837"/>
              <a:gd name="connsiteX443" fmla="*/ 1300163 w 1312179"/>
              <a:gd name="connsiteY443" fmla="*/ 347662 h 985837"/>
              <a:gd name="connsiteX444" fmla="*/ 1297781 w 1312179"/>
              <a:gd name="connsiteY444" fmla="*/ 354806 h 985837"/>
              <a:gd name="connsiteX445" fmla="*/ 1288256 w 1312179"/>
              <a:gd name="connsiteY445" fmla="*/ 369093 h 985837"/>
              <a:gd name="connsiteX446" fmla="*/ 1273969 w 1312179"/>
              <a:gd name="connsiteY446" fmla="*/ 378618 h 985837"/>
              <a:gd name="connsiteX447" fmla="*/ 1264444 w 1312179"/>
              <a:gd name="connsiteY447" fmla="*/ 392906 h 985837"/>
              <a:gd name="connsiteX448" fmla="*/ 1257300 w 1312179"/>
              <a:gd name="connsiteY448" fmla="*/ 407193 h 985837"/>
              <a:gd name="connsiteX449" fmla="*/ 1250156 w 1312179"/>
              <a:gd name="connsiteY449" fmla="*/ 411956 h 985837"/>
              <a:gd name="connsiteX450" fmla="*/ 1240631 w 1312179"/>
              <a:gd name="connsiteY450" fmla="*/ 433387 h 985837"/>
              <a:gd name="connsiteX451" fmla="*/ 1226344 w 1312179"/>
              <a:gd name="connsiteY451" fmla="*/ 442912 h 985837"/>
              <a:gd name="connsiteX452" fmla="*/ 1209675 w 1312179"/>
              <a:gd name="connsiteY452" fmla="*/ 452437 h 985837"/>
              <a:gd name="connsiteX453" fmla="*/ 1195388 w 1312179"/>
              <a:gd name="connsiteY453" fmla="*/ 457200 h 985837"/>
              <a:gd name="connsiteX454" fmla="*/ 1176338 w 1312179"/>
              <a:gd name="connsiteY454" fmla="*/ 459581 h 985837"/>
              <a:gd name="connsiteX455" fmla="*/ 1169194 w 1312179"/>
              <a:gd name="connsiteY455" fmla="*/ 461962 h 985837"/>
              <a:gd name="connsiteX456" fmla="*/ 1154906 w 1312179"/>
              <a:gd name="connsiteY456" fmla="*/ 471487 h 985837"/>
              <a:gd name="connsiteX457" fmla="*/ 1116806 w 1312179"/>
              <a:gd name="connsiteY457" fmla="*/ 481012 h 985837"/>
              <a:gd name="connsiteX458" fmla="*/ 1083469 w 1312179"/>
              <a:gd name="connsiteY458" fmla="*/ 483393 h 985837"/>
              <a:gd name="connsiteX459" fmla="*/ 1073944 w 1312179"/>
              <a:gd name="connsiteY459" fmla="*/ 485775 h 985837"/>
              <a:gd name="connsiteX460" fmla="*/ 1066800 w 1312179"/>
              <a:gd name="connsiteY460" fmla="*/ 490537 h 985837"/>
              <a:gd name="connsiteX461" fmla="*/ 1059656 w 1312179"/>
              <a:gd name="connsiteY461" fmla="*/ 492918 h 985837"/>
              <a:gd name="connsiteX462" fmla="*/ 1042988 w 1312179"/>
              <a:gd name="connsiteY462" fmla="*/ 504825 h 985837"/>
              <a:gd name="connsiteX463" fmla="*/ 1035844 w 1312179"/>
              <a:gd name="connsiteY463" fmla="*/ 511968 h 985837"/>
              <a:gd name="connsiteX464" fmla="*/ 1021556 w 1312179"/>
              <a:gd name="connsiteY464" fmla="*/ 521493 h 985837"/>
              <a:gd name="connsiteX465" fmla="*/ 1014413 w 1312179"/>
              <a:gd name="connsiteY465" fmla="*/ 526256 h 985837"/>
              <a:gd name="connsiteX466" fmla="*/ 1002506 w 1312179"/>
              <a:gd name="connsiteY466" fmla="*/ 540543 h 985837"/>
              <a:gd name="connsiteX467" fmla="*/ 995363 w 1312179"/>
              <a:gd name="connsiteY467" fmla="*/ 557212 h 985837"/>
              <a:gd name="connsiteX468" fmla="*/ 983456 w 1312179"/>
              <a:gd name="connsiteY468" fmla="*/ 573881 h 985837"/>
              <a:gd name="connsiteX469" fmla="*/ 978694 w 1312179"/>
              <a:gd name="connsiteY469" fmla="*/ 588168 h 985837"/>
              <a:gd name="connsiteX470" fmla="*/ 976313 w 1312179"/>
              <a:gd name="connsiteY470" fmla="*/ 600075 h 985837"/>
              <a:gd name="connsiteX471" fmla="*/ 966788 w 1312179"/>
              <a:gd name="connsiteY471" fmla="*/ 614362 h 985837"/>
              <a:gd name="connsiteX472" fmla="*/ 964406 w 1312179"/>
              <a:gd name="connsiteY472" fmla="*/ 621506 h 985837"/>
              <a:gd name="connsiteX473" fmla="*/ 957263 w 1312179"/>
              <a:gd name="connsiteY473" fmla="*/ 628650 h 985837"/>
              <a:gd name="connsiteX474" fmla="*/ 950119 w 1312179"/>
              <a:gd name="connsiteY474" fmla="*/ 642937 h 985837"/>
              <a:gd name="connsiteX475" fmla="*/ 947738 w 1312179"/>
              <a:gd name="connsiteY475" fmla="*/ 650081 h 985837"/>
              <a:gd name="connsiteX476" fmla="*/ 935831 w 1312179"/>
              <a:gd name="connsiteY476" fmla="*/ 666750 h 985837"/>
              <a:gd name="connsiteX477" fmla="*/ 928688 w 1312179"/>
              <a:gd name="connsiteY477" fmla="*/ 673893 h 985837"/>
              <a:gd name="connsiteX478" fmla="*/ 923925 w 1312179"/>
              <a:gd name="connsiteY478" fmla="*/ 681037 h 985837"/>
              <a:gd name="connsiteX479" fmla="*/ 912019 w 1312179"/>
              <a:gd name="connsiteY479" fmla="*/ 692943 h 985837"/>
              <a:gd name="connsiteX480" fmla="*/ 895350 w 1312179"/>
              <a:gd name="connsiteY480" fmla="*/ 704850 h 985837"/>
              <a:gd name="connsiteX481" fmla="*/ 883444 w 1312179"/>
              <a:gd name="connsiteY481" fmla="*/ 719137 h 985837"/>
              <a:gd name="connsiteX482" fmla="*/ 878681 w 1312179"/>
              <a:gd name="connsiteY482" fmla="*/ 726281 h 985837"/>
              <a:gd name="connsiteX483" fmla="*/ 864394 w 1312179"/>
              <a:gd name="connsiteY483" fmla="*/ 738187 h 985837"/>
              <a:gd name="connsiteX484" fmla="*/ 852488 w 1312179"/>
              <a:gd name="connsiteY484" fmla="*/ 754856 h 985837"/>
              <a:gd name="connsiteX485" fmla="*/ 845344 w 1312179"/>
              <a:gd name="connsiteY485" fmla="*/ 759618 h 985837"/>
              <a:gd name="connsiteX486" fmla="*/ 842963 w 1312179"/>
              <a:gd name="connsiteY486" fmla="*/ 769143 h 985837"/>
              <a:gd name="connsiteX487" fmla="*/ 835819 w 1312179"/>
              <a:gd name="connsiteY487" fmla="*/ 773906 h 985837"/>
              <a:gd name="connsiteX488" fmla="*/ 833438 w 1312179"/>
              <a:gd name="connsiteY488" fmla="*/ 785812 h 985837"/>
              <a:gd name="connsiteX489" fmla="*/ 821531 w 1312179"/>
              <a:gd name="connsiteY489" fmla="*/ 800100 h 985837"/>
              <a:gd name="connsiteX490" fmla="*/ 809625 w 1312179"/>
              <a:gd name="connsiteY490" fmla="*/ 819150 h 985837"/>
              <a:gd name="connsiteX491" fmla="*/ 800100 w 1312179"/>
              <a:gd name="connsiteY491" fmla="*/ 833437 h 985837"/>
              <a:gd name="connsiteX492" fmla="*/ 792956 w 1312179"/>
              <a:gd name="connsiteY492" fmla="*/ 857250 h 985837"/>
              <a:gd name="connsiteX493" fmla="*/ 788194 w 1312179"/>
              <a:gd name="connsiteY493" fmla="*/ 873918 h 985837"/>
              <a:gd name="connsiteX494" fmla="*/ 790575 w 1312179"/>
              <a:gd name="connsiteY494" fmla="*/ 909637 h 985837"/>
              <a:gd name="connsiteX495" fmla="*/ 790575 w 1312179"/>
              <a:gd name="connsiteY495" fmla="*/ 940593 h 985837"/>
              <a:gd name="connsiteX496" fmla="*/ 783431 w 1312179"/>
              <a:gd name="connsiteY496" fmla="*/ 947737 h 985837"/>
              <a:gd name="connsiteX497" fmla="*/ 764381 w 1312179"/>
              <a:gd name="connsiteY497" fmla="*/ 964406 h 985837"/>
              <a:gd name="connsiteX498" fmla="*/ 742950 w 1312179"/>
              <a:gd name="connsiteY498" fmla="*/ 976312 h 985837"/>
              <a:gd name="connsiteX499" fmla="*/ 733425 w 1312179"/>
              <a:gd name="connsiteY499" fmla="*/ 981075 h 985837"/>
              <a:gd name="connsiteX500" fmla="*/ 721519 w 1312179"/>
              <a:gd name="connsiteY500" fmla="*/ 983456 h 985837"/>
              <a:gd name="connsiteX501" fmla="*/ 711994 w 1312179"/>
              <a:gd name="connsiteY501" fmla="*/ 985837 h 985837"/>
              <a:gd name="connsiteX502" fmla="*/ 638175 w 1312179"/>
              <a:gd name="connsiteY502" fmla="*/ 981075 h 985837"/>
              <a:gd name="connsiteX503" fmla="*/ 621506 w 1312179"/>
              <a:gd name="connsiteY503" fmla="*/ 976312 h 985837"/>
              <a:gd name="connsiteX504" fmla="*/ 604838 w 1312179"/>
              <a:gd name="connsiteY504" fmla="*/ 973931 h 985837"/>
              <a:gd name="connsiteX505" fmla="*/ 590550 w 1312179"/>
              <a:gd name="connsiteY505" fmla="*/ 971550 h 985837"/>
              <a:gd name="connsiteX506" fmla="*/ 583406 w 1312179"/>
              <a:gd name="connsiteY506" fmla="*/ 969168 h 985837"/>
              <a:gd name="connsiteX507" fmla="*/ 573881 w 1312179"/>
              <a:gd name="connsiteY507" fmla="*/ 966787 h 985837"/>
              <a:gd name="connsiteX508" fmla="*/ 559594 w 1312179"/>
              <a:gd name="connsiteY508" fmla="*/ 957262 h 985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</a:cxnLst>
            <a:rect l="l" t="t" r="r" b="b"/>
            <a:pathLst>
              <a:path w="1312179" h="985837">
                <a:moveTo>
                  <a:pt x="559594" y="957262"/>
                </a:moveTo>
                <a:cubicBezTo>
                  <a:pt x="555229" y="948531"/>
                  <a:pt x="538091" y="958546"/>
                  <a:pt x="547688" y="914400"/>
                </a:cubicBezTo>
                <a:cubicBezTo>
                  <a:pt x="548904" y="908807"/>
                  <a:pt x="552450" y="903287"/>
                  <a:pt x="557213" y="900112"/>
                </a:cubicBezTo>
                <a:lnTo>
                  <a:pt x="571500" y="890587"/>
                </a:lnTo>
                <a:cubicBezTo>
                  <a:pt x="573088" y="888206"/>
                  <a:pt x="575101" y="886058"/>
                  <a:pt x="576263" y="883443"/>
                </a:cubicBezTo>
                <a:cubicBezTo>
                  <a:pt x="587598" y="857939"/>
                  <a:pt x="575009" y="878180"/>
                  <a:pt x="585788" y="862012"/>
                </a:cubicBezTo>
                <a:cubicBezTo>
                  <a:pt x="589942" y="845395"/>
                  <a:pt x="590033" y="849380"/>
                  <a:pt x="585788" y="823912"/>
                </a:cubicBezTo>
                <a:cubicBezTo>
                  <a:pt x="584963" y="818960"/>
                  <a:pt x="583809" y="813802"/>
                  <a:pt x="581025" y="809625"/>
                </a:cubicBezTo>
                <a:cubicBezTo>
                  <a:pt x="579438" y="807244"/>
                  <a:pt x="577543" y="805041"/>
                  <a:pt x="576263" y="802481"/>
                </a:cubicBezTo>
                <a:cubicBezTo>
                  <a:pt x="566404" y="782763"/>
                  <a:pt x="582766" y="808666"/>
                  <a:pt x="569119" y="788193"/>
                </a:cubicBezTo>
                <a:cubicBezTo>
                  <a:pt x="565753" y="771361"/>
                  <a:pt x="568019" y="780131"/>
                  <a:pt x="561975" y="762000"/>
                </a:cubicBezTo>
                <a:cubicBezTo>
                  <a:pt x="561181" y="759619"/>
                  <a:pt x="560986" y="756944"/>
                  <a:pt x="559594" y="754856"/>
                </a:cubicBezTo>
                <a:lnTo>
                  <a:pt x="554831" y="747712"/>
                </a:lnTo>
                <a:cubicBezTo>
                  <a:pt x="549990" y="723506"/>
                  <a:pt x="554950" y="745747"/>
                  <a:pt x="550069" y="728662"/>
                </a:cubicBezTo>
                <a:cubicBezTo>
                  <a:pt x="549170" y="725515"/>
                  <a:pt x="548628" y="722272"/>
                  <a:pt x="547688" y="719137"/>
                </a:cubicBezTo>
                <a:cubicBezTo>
                  <a:pt x="546245" y="714329"/>
                  <a:pt x="544513" y="709612"/>
                  <a:pt x="542925" y="704850"/>
                </a:cubicBezTo>
                <a:lnTo>
                  <a:pt x="540544" y="697706"/>
                </a:lnTo>
                <a:cubicBezTo>
                  <a:pt x="538866" y="682598"/>
                  <a:pt x="539422" y="678888"/>
                  <a:pt x="535781" y="666750"/>
                </a:cubicBezTo>
                <a:cubicBezTo>
                  <a:pt x="534338" y="661942"/>
                  <a:pt x="532606" y="657225"/>
                  <a:pt x="531019" y="652462"/>
                </a:cubicBezTo>
                <a:lnTo>
                  <a:pt x="528638" y="645318"/>
                </a:lnTo>
                <a:cubicBezTo>
                  <a:pt x="527844" y="631031"/>
                  <a:pt x="527613" y="616701"/>
                  <a:pt x="526256" y="602456"/>
                </a:cubicBezTo>
                <a:cubicBezTo>
                  <a:pt x="526018" y="599957"/>
                  <a:pt x="524535" y="597734"/>
                  <a:pt x="523875" y="595312"/>
                </a:cubicBezTo>
                <a:cubicBezTo>
                  <a:pt x="522153" y="588997"/>
                  <a:pt x="521183" y="582471"/>
                  <a:pt x="519113" y="576262"/>
                </a:cubicBezTo>
                <a:cubicBezTo>
                  <a:pt x="518319" y="573881"/>
                  <a:pt x="518272" y="571099"/>
                  <a:pt x="516731" y="569118"/>
                </a:cubicBezTo>
                <a:cubicBezTo>
                  <a:pt x="512596" y="563802"/>
                  <a:pt x="506180" y="560435"/>
                  <a:pt x="502444" y="554831"/>
                </a:cubicBezTo>
                <a:cubicBezTo>
                  <a:pt x="497763" y="547809"/>
                  <a:pt x="497411" y="546270"/>
                  <a:pt x="490538" y="540543"/>
                </a:cubicBezTo>
                <a:cubicBezTo>
                  <a:pt x="488339" y="538711"/>
                  <a:pt x="485775" y="537368"/>
                  <a:pt x="483394" y="535781"/>
                </a:cubicBezTo>
                <a:lnTo>
                  <a:pt x="469106" y="514350"/>
                </a:lnTo>
                <a:cubicBezTo>
                  <a:pt x="467518" y="511969"/>
                  <a:pt x="466725" y="508793"/>
                  <a:pt x="464344" y="507206"/>
                </a:cubicBezTo>
                <a:lnTo>
                  <a:pt x="450056" y="497681"/>
                </a:lnTo>
                <a:lnTo>
                  <a:pt x="442913" y="492918"/>
                </a:lnTo>
                <a:lnTo>
                  <a:pt x="435769" y="488156"/>
                </a:lnTo>
                <a:cubicBezTo>
                  <a:pt x="434181" y="485775"/>
                  <a:pt x="433241" y="482800"/>
                  <a:pt x="431006" y="481012"/>
                </a:cubicBezTo>
                <a:cubicBezTo>
                  <a:pt x="429046" y="479444"/>
                  <a:pt x="425638" y="480406"/>
                  <a:pt x="423863" y="478631"/>
                </a:cubicBezTo>
                <a:cubicBezTo>
                  <a:pt x="411164" y="465932"/>
                  <a:pt x="433384" y="475455"/>
                  <a:pt x="414338" y="469106"/>
                </a:cubicBezTo>
                <a:cubicBezTo>
                  <a:pt x="398482" y="453250"/>
                  <a:pt x="415559" y="468197"/>
                  <a:pt x="400050" y="459581"/>
                </a:cubicBezTo>
                <a:cubicBezTo>
                  <a:pt x="395047" y="456801"/>
                  <a:pt x="391193" y="451866"/>
                  <a:pt x="385763" y="450056"/>
                </a:cubicBezTo>
                <a:lnTo>
                  <a:pt x="371475" y="445293"/>
                </a:lnTo>
                <a:cubicBezTo>
                  <a:pt x="369094" y="444499"/>
                  <a:pt x="366766" y="443521"/>
                  <a:pt x="364331" y="442912"/>
                </a:cubicBezTo>
                <a:cubicBezTo>
                  <a:pt x="361156" y="442118"/>
                  <a:pt x="357941" y="441471"/>
                  <a:pt x="354806" y="440531"/>
                </a:cubicBezTo>
                <a:cubicBezTo>
                  <a:pt x="347593" y="438367"/>
                  <a:pt x="340519" y="435768"/>
                  <a:pt x="333375" y="433387"/>
                </a:cubicBezTo>
                <a:lnTo>
                  <a:pt x="326231" y="431006"/>
                </a:lnTo>
                <a:cubicBezTo>
                  <a:pt x="306238" y="416011"/>
                  <a:pt x="327971" y="430170"/>
                  <a:pt x="304800" y="421481"/>
                </a:cubicBezTo>
                <a:cubicBezTo>
                  <a:pt x="302120" y="420476"/>
                  <a:pt x="300287" y="417845"/>
                  <a:pt x="297656" y="416718"/>
                </a:cubicBezTo>
                <a:cubicBezTo>
                  <a:pt x="294648" y="415429"/>
                  <a:pt x="291278" y="415236"/>
                  <a:pt x="288131" y="414337"/>
                </a:cubicBezTo>
                <a:cubicBezTo>
                  <a:pt x="285718" y="413648"/>
                  <a:pt x="283369" y="412750"/>
                  <a:pt x="280988" y="411956"/>
                </a:cubicBezTo>
                <a:cubicBezTo>
                  <a:pt x="271457" y="405601"/>
                  <a:pt x="274756" y="407092"/>
                  <a:pt x="261938" y="402431"/>
                </a:cubicBezTo>
                <a:cubicBezTo>
                  <a:pt x="257220" y="400715"/>
                  <a:pt x="251827" y="400453"/>
                  <a:pt x="247650" y="397668"/>
                </a:cubicBezTo>
                <a:cubicBezTo>
                  <a:pt x="236314" y="390112"/>
                  <a:pt x="244962" y="394719"/>
                  <a:pt x="230981" y="390525"/>
                </a:cubicBezTo>
                <a:cubicBezTo>
                  <a:pt x="226173" y="389082"/>
                  <a:pt x="221456" y="387350"/>
                  <a:pt x="216694" y="385762"/>
                </a:cubicBezTo>
                <a:cubicBezTo>
                  <a:pt x="214313" y="384968"/>
                  <a:pt x="212048" y="383631"/>
                  <a:pt x="209550" y="383381"/>
                </a:cubicBezTo>
                <a:lnTo>
                  <a:pt x="185738" y="381000"/>
                </a:lnTo>
                <a:cubicBezTo>
                  <a:pt x="177800" y="381794"/>
                  <a:pt x="169822" y="382253"/>
                  <a:pt x="161925" y="383381"/>
                </a:cubicBezTo>
                <a:cubicBezTo>
                  <a:pt x="151539" y="384864"/>
                  <a:pt x="154297" y="385882"/>
                  <a:pt x="145256" y="388143"/>
                </a:cubicBezTo>
                <a:cubicBezTo>
                  <a:pt x="141330" y="389125"/>
                  <a:pt x="137362" y="389990"/>
                  <a:pt x="133350" y="390525"/>
                </a:cubicBezTo>
                <a:cubicBezTo>
                  <a:pt x="125443" y="391579"/>
                  <a:pt x="117475" y="392112"/>
                  <a:pt x="109538" y="392906"/>
                </a:cubicBezTo>
                <a:cubicBezTo>
                  <a:pt x="72970" y="391382"/>
                  <a:pt x="66791" y="394980"/>
                  <a:pt x="42863" y="388143"/>
                </a:cubicBezTo>
                <a:cubicBezTo>
                  <a:pt x="40449" y="387453"/>
                  <a:pt x="38026" y="386751"/>
                  <a:pt x="35719" y="385762"/>
                </a:cubicBezTo>
                <a:cubicBezTo>
                  <a:pt x="27258" y="382136"/>
                  <a:pt x="26226" y="381021"/>
                  <a:pt x="19050" y="376237"/>
                </a:cubicBezTo>
                <a:cubicBezTo>
                  <a:pt x="17463" y="373856"/>
                  <a:pt x="16120" y="371292"/>
                  <a:pt x="14288" y="369093"/>
                </a:cubicBezTo>
                <a:cubicBezTo>
                  <a:pt x="12132" y="366506"/>
                  <a:pt x="9012" y="364752"/>
                  <a:pt x="7144" y="361950"/>
                </a:cubicBezTo>
                <a:cubicBezTo>
                  <a:pt x="5752" y="359861"/>
                  <a:pt x="5886" y="357051"/>
                  <a:pt x="4763" y="354806"/>
                </a:cubicBezTo>
                <a:cubicBezTo>
                  <a:pt x="3483" y="352246"/>
                  <a:pt x="1588" y="350043"/>
                  <a:pt x="0" y="347662"/>
                </a:cubicBezTo>
                <a:cubicBezTo>
                  <a:pt x="794" y="342900"/>
                  <a:pt x="222" y="337693"/>
                  <a:pt x="2381" y="333375"/>
                </a:cubicBezTo>
                <a:cubicBezTo>
                  <a:pt x="6844" y="324448"/>
                  <a:pt x="21107" y="330266"/>
                  <a:pt x="26194" y="330993"/>
                </a:cubicBezTo>
                <a:cubicBezTo>
                  <a:pt x="30956" y="332581"/>
                  <a:pt x="37696" y="331579"/>
                  <a:pt x="40481" y="335756"/>
                </a:cubicBezTo>
                <a:cubicBezTo>
                  <a:pt x="42069" y="338137"/>
                  <a:pt x="43220" y="340876"/>
                  <a:pt x="45244" y="342900"/>
                </a:cubicBezTo>
                <a:cubicBezTo>
                  <a:pt x="47268" y="344924"/>
                  <a:pt x="50098" y="345945"/>
                  <a:pt x="52388" y="347662"/>
                </a:cubicBezTo>
                <a:cubicBezTo>
                  <a:pt x="56454" y="350711"/>
                  <a:pt x="60065" y="354368"/>
                  <a:pt x="64294" y="357187"/>
                </a:cubicBezTo>
                <a:cubicBezTo>
                  <a:pt x="67248" y="359156"/>
                  <a:pt x="70737" y="360189"/>
                  <a:pt x="73819" y="361950"/>
                </a:cubicBezTo>
                <a:cubicBezTo>
                  <a:pt x="76304" y="363370"/>
                  <a:pt x="78403" y="365432"/>
                  <a:pt x="80963" y="366712"/>
                </a:cubicBezTo>
                <a:cubicBezTo>
                  <a:pt x="83208" y="367834"/>
                  <a:pt x="85693" y="368403"/>
                  <a:pt x="88106" y="369093"/>
                </a:cubicBezTo>
                <a:cubicBezTo>
                  <a:pt x="100348" y="372591"/>
                  <a:pt x="101211" y="371922"/>
                  <a:pt x="116681" y="373856"/>
                </a:cubicBezTo>
                <a:cubicBezTo>
                  <a:pt x="119062" y="374650"/>
                  <a:pt x="121315" y="376237"/>
                  <a:pt x="123825" y="376237"/>
                </a:cubicBezTo>
                <a:cubicBezTo>
                  <a:pt x="145817" y="376237"/>
                  <a:pt x="136627" y="374823"/>
                  <a:pt x="150019" y="371475"/>
                </a:cubicBezTo>
                <a:cubicBezTo>
                  <a:pt x="155449" y="370117"/>
                  <a:pt x="163628" y="369432"/>
                  <a:pt x="169069" y="366712"/>
                </a:cubicBezTo>
                <a:cubicBezTo>
                  <a:pt x="171629" y="365432"/>
                  <a:pt x="173832" y="363537"/>
                  <a:pt x="176213" y="361950"/>
                </a:cubicBezTo>
                <a:cubicBezTo>
                  <a:pt x="177007" y="357187"/>
                  <a:pt x="178594" y="352490"/>
                  <a:pt x="178594" y="347662"/>
                </a:cubicBezTo>
                <a:cubicBezTo>
                  <a:pt x="178594" y="342049"/>
                  <a:pt x="178228" y="336232"/>
                  <a:pt x="176213" y="330993"/>
                </a:cubicBezTo>
                <a:cubicBezTo>
                  <a:pt x="173709" y="324482"/>
                  <a:pt x="165505" y="314529"/>
                  <a:pt x="159544" y="309562"/>
                </a:cubicBezTo>
                <a:cubicBezTo>
                  <a:pt x="157345" y="307730"/>
                  <a:pt x="154781" y="306387"/>
                  <a:pt x="152400" y="304800"/>
                </a:cubicBezTo>
                <a:cubicBezTo>
                  <a:pt x="150842" y="302463"/>
                  <a:pt x="139259" y="284515"/>
                  <a:pt x="135731" y="280987"/>
                </a:cubicBezTo>
                <a:cubicBezTo>
                  <a:pt x="133708" y="278964"/>
                  <a:pt x="130969" y="277812"/>
                  <a:pt x="128588" y="276225"/>
                </a:cubicBezTo>
                <a:cubicBezTo>
                  <a:pt x="127000" y="273844"/>
                  <a:pt x="125342" y="271508"/>
                  <a:pt x="123825" y="269081"/>
                </a:cubicBezTo>
                <a:cubicBezTo>
                  <a:pt x="121372" y="265156"/>
                  <a:pt x="119248" y="261026"/>
                  <a:pt x="116681" y="257175"/>
                </a:cubicBezTo>
                <a:cubicBezTo>
                  <a:pt x="114480" y="253873"/>
                  <a:pt x="111919" y="250825"/>
                  <a:pt x="109538" y="247650"/>
                </a:cubicBezTo>
                <a:cubicBezTo>
                  <a:pt x="108207" y="242329"/>
                  <a:pt x="104710" y="227311"/>
                  <a:pt x="102394" y="223837"/>
                </a:cubicBezTo>
                <a:lnTo>
                  <a:pt x="97631" y="216693"/>
                </a:lnTo>
                <a:cubicBezTo>
                  <a:pt x="96126" y="212177"/>
                  <a:pt x="93367" y="204511"/>
                  <a:pt x="92869" y="200025"/>
                </a:cubicBezTo>
                <a:cubicBezTo>
                  <a:pt x="88176" y="157787"/>
                  <a:pt x="94493" y="178697"/>
                  <a:pt x="88106" y="159543"/>
                </a:cubicBezTo>
                <a:cubicBezTo>
                  <a:pt x="88900" y="155574"/>
                  <a:pt x="86974" y="149645"/>
                  <a:pt x="90488" y="147637"/>
                </a:cubicBezTo>
                <a:cubicBezTo>
                  <a:pt x="94680" y="145242"/>
                  <a:pt x="100091" y="148847"/>
                  <a:pt x="104775" y="150018"/>
                </a:cubicBezTo>
                <a:cubicBezTo>
                  <a:pt x="109645" y="151236"/>
                  <a:pt x="119063" y="154781"/>
                  <a:pt x="119063" y="154781"/>
                </a:cubicBezTo>
                <a:cubicBezTo>
                  <a:pt x="120650" y="157162"/>
                  <a:pt x="121801" y="159901"/>
                  <a:pt x="123825" y="161925"/>
                </a:cubicBezTo>
                <a:cubicBezTo>
                  <a:pt x="125849" y="163949"/>
                  <a:pt x="129084" y="164533"/>
                  <a:pt x="130969" y="166687"/>
                </a:cubicBezTo>
                <a:cubicBezTo>
                  <a:pt x="134738" y="170995"/>
                  <a:pt x="137319" y="176212"/>
                  <a:pt x="140494" y="180975"/>
                </a:cubicBezTo>
                <a:cubicBezTo>
                  <a:pt x="142081" y="183356"/>
                  <a:pt x="144351" y="185403"/>
                  <a:pt x="145256" y="188118"/>
                </a:cubicBezTo>
                <a:cubicBezTo>
                  <a:pt x="146844" y="192881"/>
                  <a:pt x="147234" y="198229"/>
                  <a:pt x="150019" y="202406"/>
                </a:cubicBezTo>
                <a:cubicBezTo>
                  <a:pt x="157565" y="213726"/>
                  <a:pt x="153877" y="206837"/>
                  <a:pt x="159544" y="223837"/>
                </a:cubicBezTo>
                <a:lnTo>
                  <a:pt x="161925" y="230981"/>
                </a:lnTo>
                <a:cubicBezTo>
                  <a:pt x="162719" y="246856"/>
                  <a:pt x="162250" y="262845"/>
                  <a:pt x="164306" y="278606"/>
                </a:cubicBezTo>
                <a:cubicBezTo>
                  <a:pt x="165191" y="285391"/>
                  <a:pt x="172153" y="286903"/>
                  <a:pt x="176213" y="290512"/>
                </a:cubicBezTo>
                <a:cubicBezTo>
                  <a:pt x="181247" y="294987"/>
                  <a:pt x="184110" y="302670"/>
                  <a:pt x="190500" y="304800"/>
                </a:cubicBezTo>
                <a:cubicBezTo>
                  <a:pt x="197658" y="307186"/>
                  <a:pt x="198634" y="306815"/>
                  <a:pt x="204788" y="311943"/>
                </a:cubicBezTo>
                <a:cubicBezTo>
                  <a:pt x="216680" y="321853"/>
                  <a:pt x="206519" y="317283"/>
                  <a:pt x="219075" y="321468"/>
                </a:cubicBezTo>
                <a:cubicBezTo>
                  <a:pt x="232648" y="335041"/>
                  <a:pt x="218953" y="323797"/>
                  <a:pt x="235744" y="330993"/>
                </a:cubicBezTo>
                <a:cubicBezTo>
                  <a:pt x="238375" y="332120"/>
                  <a:pt x="240058" y="335331"/>
                  <a:pt x="242888" y="335756"/>
                </a:cubicBezTo>
                <a:cubicBezTo>
                  <a:pt x="256255" y="337761"/>
                  <a:pt x="269875" y="337343"/>
                  <a:pt x="283369" y="338137"/>
                </a:cubicBezTo>
                <a:cubicBezTo>
                  <a:pt x="285750" y="339725"/>
                  <a:pt x="287833" y="341895"/>
                  <a:pt x="290513" y="342900"/>
                </a:cubicBezTo>
                <a:cubicBezTo>
                  <a:pt x="294303" y="344321"/>
                  <a:pt x="298493" y="344299"/>
                  <a:pt x="302419" y="345281"/>
                </a:cubicBezTo>
                <a:cubicBezTo>
                  <a:pt x="304854" y="345890"/>
                  <a:pt x="307182" y="346868"/>
                  <a:pt x="309563" y="347662"/>
                </a:cubicBezTo>
                <a:cubicBezTo>
                  <a:pt x="314325" y="350837"/>
                  <a:pt x="318420" y="355377"/>
                  <a:pt x="323850" y="357187"/>
                </a:cubicBezTo>
                <a:cubicBezTo>
                  <a:pt x="328613" y="358775"/>
                  <a:pt x="333961" y="359165"/>
                  <a:pt x="338138" y="361950"/>
                </a:cubicBezTo>
                <a:lnTo>
                  <a:pt x="352425" y="371475"/>
                </a:lnTo>
                <a:cubicBezTo>
                  <a:pt x="354806" y="373062"/>
                  <a:pt x="357545" y="374213"/>
                  <a:pt x="359569" y="376237"/>
                </a:cubicBezTo>
                <a:cubicBezTo>
                  <a:pt x="368736" y="385404"/>
                  <a:pt x="363911" y="381513"/>
                  <a:pt x="373856" y="388143"/>
                </a:cubicBezTo>
                <a:cubicBezTo>
                  <a:pt x="382657" y="401344"/>
                  <a:pt x="373583" y="390902"/>
                  <a:pt x="385763" y="397668"/>
                </a:cubicBezTo>
                <a:cubicBezTo>
                  <a:pt x="390766" y="400448"/>
                  <a:pt x="394620" y="405383"/>
                  <a:pt x="400050" y="407193"/>
                </a:cubicBezTo>
                <a:cubicBezTo>
                  <a:pt x="423055" y="414863"/>
                  <a:pt x="387282" y="402562"/>
                  <a:pt x="416719" y="414337"/>
                </a:cubicBezTo>
                <a:cubicBezTo>
                  <a:pt x="421380" y="416201"/>
                  <a:pt x="426244" y="417512"/>
                  <a:pt x="431006" y="419100"/>
                </a:cubicBezTo>
                <a:cubicBezTo>
                  <a:pt x="433387" y="419894"/>
                  <a:pt x="435715" y="420872"/>
                  <a:pt x="438150" y="421481"/>
                </a:cubicBezTo>
                <a:cubicBezTo>
                  <a:pt x="441325" y="422275"/>
                  <a:pt x="444540" y="422922"/>
                  <a:pt x="447675" y="423862"/>
                </a:cubicBezTo>
                <a:cubicBezTo>
                  <a:pt x="452484" y="425305"/>
                  <a:pt x="457786" y="425840"/>
                  <a:pt x="461963" y="428625"/>
                </a:cubicBezTo>
                <a:lnTo>
                  <a:pt x="469106" y="433387"/>
                </a:lnTo>
                <a:cubicBezTo>
                  <a:pt x="470694" y="435768"/>
                  <a:pt x="471715" y="438646"/>
                  <a:pt x="473869" y="440531"/>
                </a:cubicBezTo>
                <a:cubicBezTo>
                  <a:pt x="478176" y="444300"/>
                  <a:pt x="488156" y="450056"/>
                  <a:pt x="488156" y="450056"/>
                </a:cubicBezTo>
                <a:cubicBezTo>
                  <a:pt x="492349" y="462631"/>
                  <a:pt x="489145" y="455109"/>
                  <a:pt x="500063" y="471487"/>
                </a:cubicBezTo>
                <a:cubicBezTo>
                  <a:pt x="501650" y="473868"/>
                  <a:pt x="502801" y="476607"/>
                  <a:pt x="504825" y="478631"/>
                </a:cubicBezTo>
                <a:cubicBezTo>
                  <a:pt x="507206" y="481012"/>
                  <a:pt x="509813" y="483188"/>
                  <a:pt x="511969" y="485775"/>
                </a:cubicBezTo>
                <a:cubicBezTo>
                  <a:pt x="513801" y="487973"/>
                  <a:pt x="514899" y="490720"/>
                  <a:pt x="516731" y="492918"/>
                </a:cubicBezTo>
                <a:cubicBezTo>
                  <a:pt x="518887" y="495505"/>
                  <a:pt x="521807" y="497404"/>
                  <a:pt x="523875" y="500062"/>
                </a:cubicBezTo>
                <a:cubicBezTo>
                  <a:pt x="527389" y="504580"/>
                  <a:pt x="531590" y="508920"/>
                  <a:pt x="533400" y="514350"/>
                </a:cubicBezTo>
                <a:lnTo>
                  <a:pt x="538163" y="528637"/>
                </a:lnTo>
                <a:cubicBezTo>
                  <a:pt x="539771" y="538287"/>
                  <a:pt x="540262" y="543572"/>
                  <a:pt x="542925" y="552450"/>
                </a:cubicBezTo>
                <a:cubicBezTo>
                  <a:pt x="544368" y="557258"/>
                  <a:pt x="544904" y="562560"/>
                  <a:pt x="547688" y="566737"/>
                </a:cubicBezTo>
                <a:cubicBezTo>
                  <a:pt x="549275" y="569118"/>
                  <a:pt x="551170" y="571321"/>
                  <a:pt x="552450" y="573881"/>
                </a:cubicBezTo>
                <a:cubicBezTo>
                  <a:pt x="562301" y="593585"/>
                  <a:pt x="545954" y="567712"/>
                  <a:pt x="559594" y="588168"/>
                </a:cubicBezTo>
                <a:cubicBezTo>
                  <a:pt x="562960" y="605001"/>
                  <a:pt x="560694" y="596231"/>
                  <a:pt x="566738" y="614362"/>
                </a:cubicBezTo>
                <a:lnTo>
                  <a:pt x="573881" y="635793"/>
                </a:lnTo>
                <a:cubicBezTo>
                  <a:pt x="574675" y="638174"/>
                  <a:pt x="574488" y="641162"/>
                  <a:pt x="576263" y="642937"/>
                </a:cubicBezTo>
                <a:cubicBezTo>
                  <a:pt x="578644" y="645318"/>
                  <a:pt x="581250" y="647494"/>
                  <a:pt x="583406" y="650081"/>
                </a:cubicBezTo>
                <a:cubicBezTo>
                  <a:pt x="591691" y="660023"/>
                  <a:pt x="583586" y="655698"/>
                  <a:pt x="595313" y="659606"/>
                </a:cubicBezTo>
                <a:cubicBezTo>
                  <a:pt x="596107" y="661987"/>
                  <a:pt x="596475" y="664556"/>
                  <a:pt x="597694" y="666750"/>
                </a:cubicBezTo>
                <a:cubicBezTo>
                  <a:pt x="600474" y="671753"/>
                  <a:pt x="604044" y="676275"/>
                  <a:pt x="607219" y="681037"/>
                </a:cubicBezTo>
                <a:lnTo>
                  <a:pt x="611981" y="688181"/>
                </a:lnTo>
                <a:lnTo>
                  <a:pt x="616744" y="695325"/>
                </a:lnTo>
                <a:lnTo>
                  <a:pt x="621506" y="702468"/>
                </a:lnTo>
                <a:cubicBezTo>
                  <a:pt x="624681" y="701674"/>
                  <a:pt x="628189" y="701711"/>
                  <a:pt x="631031" y="700087"/>
                </a:cubicBezTo>
                <a:cubicBezTo>
                  <a:pt x="639247" y="695392"/>
                  <a:pt x="640803" y="687196"/>
                  <a:pt x="642938" y="678656"/>
                </a:cubicBezTo>
                <a:lnTo>
                  <a:pt x="645319" y="669131"/>
                </a:lnTo>
                <a:cubicBezTo>
                  <a:pt x="644288" y="660879"/>
                  <a:pt x="642520" y="644631"/>
                  <a:pt x="640556" y="635793"/>
                </a:cubicBezTo>
                <a:cubicBezTo>
                  <a:pt x="640011" y="633343"/>
                  <a:pt x="638969" y="631031"/>
                  <a:pt x="638175" y="628650"/>
                </a:cubicBezTo>
                <a:cubicBezTo>
                  <a:pt x="635469" y="606999"/>
                  <a:pt x="636190" y="609005"/>
                  <a:pt x="631031" y="585787"/>
                </a:cubicBezTo>
                <a:cubicBezTo>
                  <a:pt x="629611" y="579397"/>
                  <a:pt x="629900" y="572183"/>
                  <a:pt x="626269" y="566737"/>
                </a:cubicBezTo>
                <a:cubicBezTo>
                  <a:pt x="619638" y="556791"/>
                  <a:pt x="623530" y="561617"/>
                  <a:pt x="614363" y="552450"/>
                </a:cubicBezTo>
                <a:cubicBezTo>
                  <a:pt x="612775" y="547687"/>
                  <a:pt x="610584" y="543085"/>
                  <a:pt x="609600" y="538162"/>
                </a:cubicBezTo>
                <a:cubicBezTo>
                  <a:pt x="608013" y="530225"/>
                  <a:pt x="606169" y="522334"/>
                  <a:pt x="604838" y="514350"/>
                </a:cubicBezTo>
                <a:cubicBezTo>
                  <a:pt x="604044" y="509587"/>
                  <a:pt x="603320" y="504813"/>
                  <a:pt x="602456" y="500062"/>
                </a:cubicBezTo>
                <a:cubicBezTo>
                  <a:pt x="599764" y="485255"/>
                  <a:pt x="600520" y="489488"/>
                  <a:pt x="595313" y="473868"/>
                </a:cubicBezTo>
                <a:cubicBezTo>
                  <a:pt x="594519" y="471487"/>
                  <a:pt x="594706" y="468500"/>
                  <a:pt x="592931" y="466725"/>
                </a:cubicBezTo>
                <a:lnTo>
                  <a:pt x="585788" y="459581"/>
                </a:lnTo>
                <a:cubicBezTo>
                  <a:pt x="584200" y="454818"/>
                  <a:pt x="583064" y="449881"/>
                  <a:pt x="581025" y="445293"/>
                </a:cubicBezTo>
                <a:cubicBezTo>
                  <a:pt x="579863" y="442678"/>
                  <a:pt x="577425" y="440765"/>
                  <a:pt x="576263" y="438150"/>
                </a:cubicBezTo>
                <a:cubicBezTo>
                  <a:pt x="574224" y="433562"/>
                  <a:pt x="572717" y="428732"/>
                  <a:pt x="571500" y="423862"/>
                </a:cubicBezTo>
                <a:cubicBezTo>
                  <a:pt x="565756" y="400886"/>
                  <a:pt x="568022" y="411230"/>
                  <a:pt x="564356" y="392906"/>
                </a:cubicBezTo>
                <a:cubicBezTo>
                  <a:pt x="564059" y="388457"/>
                  <a:pt x="565274" y="361403"/>
                  <a:pt x="559594" y="350043"/>
                </a:cubicBezTo>
                <a:cubicBezTo>
                  <a:pt x="558314" y="347483"/>
                  <a:pt x="556419" y="345281"/>
                  <a:pt x="554831" y="342900"/>
                </a:cubicBezTo>
                <a:cubicBezTo>
                  <a:pt x="554037" y="340519"/>
                  <a:pt x="553669" y="337950"/>
                  <a:pt x="552450" y="335756"/>
                </a:cubicBezTo>
                <a:cubicBezTo>
                  <a:pt x="549670" y="330752"/>
                  <a:pt x="542925" y="321468"/>
                  <a:pt x="542925" y="321468"/>
                </a:cubicBezTo>
                <a:cubicBezTo>
                  <a:pt x="542131" y="319087"/>
                  <a:pt x="541936" y="316413"/>
                  <a:pt x="540544" y="314325"/>
                </a:cubicBezTo>
                <a:cubicBezTo>
                  <a:pt x="538183" y="310784"/>
                  <a:pt x="530417" y="304267"/>
                  <a:pt x="526256" y="302418"/>
                </a:cubicBezTo>
                <a:cubicBezTo>
                  <a:pt x="521669" y="300379"/>
                  <a:pt x="516731" y="299243"/>
                  <a:pt x="511969" y="297656"/>
                </a:cubicBezTo>
                <a:lnTo>
                  <a:pt x="497681" y="292893"/>
                </a:lnTo>
                <a:cubicBezTo>
                  <a:pt x="495300" y="292099"/>
                  <a:pt x="492999" y="291004"/>
                  <a:pt x="490538" y="290512"/>
                </a:cubicBezTo>
                <a:lnTo>
                  <a:pt x="478631" y="288131"/>
                </a:lnTo>
                <a:cubicBezTo>
                  <a:pt x="476250" y="286543"/>
                  <a:pt x="474048" y="284648"/>
                  <a:pt x="471488" y="283368"/>
                </a:cubicBezTo>
                <a:cubicBezTo>
                  <a:pt x="469243" y="282245"/>
                  <a:pt x="466272" y="282594"/>
                  <a:pt x="464344" y="280987"/>
                </a:cubicBezTo>
                <a:cubicBezTo>
                  <a:pt x="447044" y="266571"/>
                  <a:pt x="466436" y="274540"/>
                  <a:pt x="450056" y="269081"/>
                </a:cubicBezTo>
                <a:cubicBezTo>
                  <a:pt x="447675" y="266700"/>
                  <a:pt x="445500" y="264093"/>
                  <a:pt x="442913" y="261937"/>
                </a:cubicBezTo>
                <a:cubicBezTo>
                  <a:pt x="440714" y="260105"/>
                  <a:pt x="437793" y="259199"/>
                  <a:pt x="435769" y="257175"/>
                </a:cubicBezTo>
                <a:cubicBezTo>
                  <a:pt x="433745" y="255151"/>
                  <a:pt x="433160" y="251916"/>
                  <a:pt x="431006" y="250031"/>
                </a:cubicBezTo>
                <a:cubicBezTo>
                  <a:pt x="420045" y="240440"/>
                  <a:pt x="417944" y="241886"/>
                  <a:pt x="407194" y="235743"/>
                </a:cubicBezTo>
                <a:cubicBezTo>
                  <a:pt x="404709" y="234323"/>
                  <a:pt x="402665" y="232143"/>
                  <a:pt x="400050" y="230981"/>
                </a:cubicBezTo>
                <a:cubicBezTo>
                  <a:pt x="395463" y="228942"/>
                  <a:pt x="385763" y="226218"/>
                  <a:pt x="385763" y="226218"/>
                </a:cubicBezTo>
                <a:cubicBezTo>
                  <a:pt x="384175" y="223837"/>
                  <a:pt x="383199" y="220907"/>
                  <a:pt x="381000" y="219075"/>
                </a:cubicBezTo>
                <a:cubicBezTo>
                  <a:pt x="378273" y="216803"/>
                  <a:pt x="374557" y="216073"/>
                  <a:pt x="371475" y="214312"/>
                </a:cubicBezTo>
                <a:cubicBezTo>
                  <a:pt x="368990" y="212892"/>
                  <a:pt x="366946" y="210712"/>
                  <a:pt x="364331" y="209550"/>
                </a:cubicBezTo>
                <a:cubicBezTo>
                  <a:pt x="359744" y="207511"/>
                  <a:pt x="354806" y="206375"/>
                  <a:pt x="350044" y="204787"/>
                </a:cubicBezTo>
                <a:lnTo>
                  <a:pt x="335756" y="200025"/>
                </a:lnTo>
                <a:cubicBezTo>
                  <a:pt x="333375" y="199231"/>
                  <a:pt x="330858" y="198765"/>
                  <a:pt x="328613" y="197643"/>
                </a:cubicBezTo>
                <a:cubicBezTo>
                  <a:pt x="325438" y="196056"/>
                  <a:pt x="322170" y="194642"/>
                  <a:pt x="319088" y="192881"/>
                </a:cubicBezTo>
                <a:cubicBezTo>
                  <a:pt x="316603" y="191461"/>
                  <a:pt x="314559" y="189280"/>
                  <a:pt x="311944" y="188118"/>
                </a:cubicBezTo>
                <a:cubicBezTo>
                  <a:pt x="307356" y="186079"/>
                  <a:pt x="297656" y="183356"/>
                  <a:pt x="297656" y="183356"/>
                </a:cubicBezTo>
                <a:cubicBezTo>
                  <a:pt x="295275" y="180975"/>
                  <a:pt x="292148" y="179156"/>
                  <a:pt x="290513" y="176212"/>
                </a:cubicBezTo>
                <a:cubicBezTo>
                  <a:pt x="288075" y="171824"/>
                  <a:pt x="289927" y="164710"/>
                  <a:pt x="285750" y="161925"/>
                </a:cubicBezTo>
                <a:cubicBezTo>
                  <a:pt x="275804" y="155294"/>
                  <a:pt x="280630" y="159186"/>
                  <a:pt x="271463" y="150018"/>
                </a:cubicBezTo>
                <a:cubicBezTo>
                  <a:pt x="272499" y="144836"/>
                  <a:pt x="272947" y="134741"/>
                  <a:pt x="278606" y="130968"/>
                </a:cubicBezTo>
                <a:cubicBezTo>
                  <a:pt x="281329" y="129153"/>
                  <a:pt x="284956" y="129381"/>
                  <a:pt x="288131" y="128587"/>
                </a:cubicBezTo>
                <a:cubicBezTo>
                  <a:pt x="296069" y="129381"/>
                  <a:pt x="304171" y="129174"/>
                  <a:pt x="311944" y="130968"/>
                </a:cubicBezTo>
                <a:cubicBezTo>
                  <a:pt x="314733" y="131612"/>
                  <a:pt x="316603" y="134311"/>
                  <a:pt x="319088" y="135731"/>
                </a:cubicBezTo>
                <a:cubicBezTo>
                  <a:pt x="322170" y="137492"/>
                  <a:pt x="325531" y="138732"/>
                  <a:pt x="328613" y="140493"/>
                </a:cubicBezTo>
                <a:cubicBezTo>
                  <a:pt x="341540" y="147880"/>
                  <a:pt x="329799" y="143271"/>
                  <a:pt x="342900" y="147637"/>
                </a:cubicBezTo>
                <a:lnTo>
                  <a:pt x="364331" y="161925"/>
                </a:lnTo>
                <a:cubicBezTo>
                  <a:pt x="366712" y="163513"/>
                  <a:pt x="369451" y="164663"/>
                  <a:pt x="371475" y="166687"/>
                </a:cubicBezTo>
                <a:cubicBezTo>
                  <a:pt x="380394" y="175606"/>
                  <a:pt x="375424" y="172766"/>
                  <a:pt x="385763" y="176212"/>
                </a:cubicBezTo>
                <a:cubicBezTo>
                  <a:pt x="393791" y="188255"/>
                  <a:pt x="386167" y="179986"/>
                  <a:pt x="397669" y="185737"/>
                </a:cubicBezTo>
                <a:cubicBezTo>
                  <a:pt x="400229" y="187017"/>
                  <a:pt x="402198" y="189338"/>
                  <a:pt x="404813" y="190500"/>
                </a:cubicBezTo>
                <a:cubicBezTo>
                  <a:pt x="409400" y="192539"/>
                  <a:pt x="414338" y="193675"/>
                  <a:pt x="419100" y="195262"/>
                </a:cubicBezTo>
                <a:lnTo>
                  <a:pt x="426244" y="197643"/>
                </a:lnTo>
                <a:cubicBezTo>
                  <a:pt x="431800" y="196849"/>
                  <a:pt x="439800" y="199932"/>
                  <a:pt x="442913" y="195262"/>
                </a:cubicBezTo>
                <a:cubicBezTo>
                  <a:pt x="452174" y="181371"/>
                  <a:pt x="440491" y="176185"/>
                  <a:pt x="433388" y="171450"/>
                </a:cubicBezTo>
                <a:cubicBezTo>
                  <a:pt x="432594" y="169069"/>
                  <a:pt x="432574" y="166266"/>
                  <a:pt x="431006" y="164306"/>
                </a:cubicBezTo>
                <a:cubicBezTo>
                  <a:pt x="429218" y="162071"/>
                  <a:pt x="426002" y="161444"/>
                  <a:pt x="423863" y="159543"/>
                </a:cubicBezTo>
                <a:cubicBezTo>
                  <a:pt x="418829" y="155068"/>
                  <a:pt x="415179" y="148992"/>
                  <a:pt x="409575" y="145256"/>
                </a:cubicBezTo>
                <a:lnTo>
                  <a:pt x="395288" y="135731"/>
                </a:lnTo>
                <a:lnTo>
                  <a:pt x="388144" y="130968"/>
                </a:lnTo>
                <a:cubicBezTo>
                  <a:pt x="382155" y="121985"/>
                  <a:pt x="373409" y="116162"/>
                  <a:pt x="381000" y="104775"/>
                </a:cubicBezTo>
                <a:cubicBezTo>
                  <a:pt x="382392" y="102686"/>
                  <a:pt x="385763" y="103187"/>
                  <a:pt x="388144" y="102393"/>
                </a:cubicBezTo>
                <a:cubicBezTo>
                  <a:pt x="391582" y="102680"/>
                  <a:pt x="417170" y="103268"/>
                  <a:pt x="426244" y="107156"/>
                </a:cubicBezTo>
                <a:cubicBezTo>
                  <a:pt x="428875" y="108283"/>
                  <a:pt x="431189" y="110086"/>
                  <a:pt x="433388" y="111918"/>
                </a:cubicBezTo>
                <a:cubicBezTo>
                  <a:pt x="435975" y="114074"/>
                  <a:pt x="437873" y="116995"/>
                  <a:pt x="440531" y="119062"/>
                </a:cubicBezTo>
                <a:cubicBezTo>
                  <a:pt x="445049" y="122576"/>
                  <a:pt x="454819" y="128587"/>
                  <a:pt x="454819" y="128587"/>
                </a:cubicBezTo>
                <a:cubicBezTo>
                  <a:pt x="468469" y="149065"/>
                  <a:pt x="452101" y="123153"/>
                  <a:pt x="461963" y="142875"/>
                </a:cubicBezTo>
                <a:cubicBezTo>
                  <a:pt x="463243" y="145434"/>
                  <a:pt x="465138" y="147637"/>
                  <a:pt x="466725" y="150018"/>
                </a:cubicBezTo>
                <a:cubicBezTo>
                  <a:pt x="467519" y="152399"/>
                  <a:pt x="467983" y="154917"/>
                  <a:pt x="469106" y="157162"/>
                </a:cubicBezTo>
                <a:cubicBezTo>
                  <a:pt x="477703" y="174356"/>
                  <a:pt x="470276" y="152945"/>
                  <a:pt x="478631" y="173831"/>
                </a:cubicBezTo>
                <a:cubicBezTo>
                  <a:pt x="480495" y="178492"/>
                  <a:pt x="482410" y="183195"/>
                  <a:pt x="483394" y="188118"/>
                </a:cubicBezTo>
                <a:cubicBezTo>
                  <a:pt x="483737" y="189835"/>
                  <a:pt x="486064" y="204030"/>
                  <a:pt x="488156" y="207168"/>
                </a:cubicBezTo>
                <a:cubicBezTo>
                  <a:pt x="491823" y="212668"/>
                  <a:pt x="497173" y="215561"/>
                  <a:pt x="502444" y="219075"/>
                </a:cubicBezTo>
                <a:cubicBezTo>
                  <a:pt x="504031" y="221456"/>
                  <a:pt x="505052" y="224334"/>
                  <a:pt x="507206" y="226218"/>
                </a:cubicBezTo>
                <a:cubicBezTo>
                  <a:pt x="517283" y="235035"/>
                  <a:pt x="518827" y="234854"/>
                  <a:pt x="528638" y="238125"/>
                </a:cubicBezTo>
                <a:cubicBezTo>
                  <a:pt x="531019" y="240506"/>
                  <a:pt x="532857" y="243597"/>
                  <a:pt x="535781" y="245268"/>
                </a:cubicBezTo>
                <a:cubicBezTo>
                  <a:pt x="538623" y="246892"/>
                  <a:pt x="542159" y="246751"/>
                  <a:pt x="545306" y="247650"/>
                </a:cubicBezTo>
                <a:cubicBezTo>
                  <a:pt x="562379" y="252529"/>
                  <a:pt x="540170" y="247575"/>
                  <a:pt x="564356" y="252412"/>
                </a:cubicBezTo>
                <a:cubicBezTo>
                  <a:pt x="586893" y="249908"/>
                  <a:pt x="583770" y="256327"/>
                  <a:pt x="590550" y="240506"/>
                </a:cubicBezTo>
                <a:cubicBezTo>
                  <a:pt x="591539" y="238199"/>
                  <a:pt x="592137" y="235743"/>
                  <a:pt x="592931" y="233362"/>
                </a:cubicBezTo>
                <a:cubicBezTo>
                  <a:pt x="592339" y="229221"/>
                  <a:pt x="591366" y="215305"/>
                  <a:pt x="588169" y="209550"/>
                </a:cubicBezTo>
                <a:cubicBezTo>
                  <a:pt x="585389" y="204546"/>
                  <a:pt x="583407" y="198437"/>
                  <a:pt x="578644" y="195262"/>
                </a:cubicBezTo>
                <a:cubicBezTo>
                  <a:pt x="561554" y="183869"/>
                  <a:pt x="568403" y="189785"/>
                  <a:pt x="557213" y="178593"/>
                </a:cubicBezTo>
                <a:lnTo>
                  <a:pt x="552450" y="164306"/>
                </a:lnTo>
                <a:cubicBezTo>
                  <a:pt x="551656" y="161925"/>
                  <a:pt x="551461" y="159250"/>
                  <a:pt x="550069" y="157162"/>
                </a:cubicBezTo>
                <a:lnTo>
                  <a:pt x="545306" y="150018"/>
                </a:lnTo>
                <a:cubicBezTo>
                  <a:pt x="538709" y="123629"/>
                  <a:pt x="545650" y="153974"/>
                  <a:pt x="540544" y="95250"/>
                </a:cubicBezTo>
                <a:cubicBezTo>
                  <a:pt x="540192" y="91200"/>
                  <a:pt x="537175" y="82762"/>
                  <a:pt x="535781" y="78581"/>
                </a:cubicBezTo>
                <a:cubicBezTo>
                  <a:pt x="534987" y="73818"/>
                  <a:pt x="533858" y="69100"/>
                  <a:pt x="533400" y="64293"/>
                </a:cubicBezTo>
                <a:cubicBezTo>
                  <a:pt x="529323" y="21484"/>
                  <a:pt x="535113" y="40860"/>
                  <a:pt x="528638" y="21431"/>
                </a:cubicBezTo>
                <a:cubicBezTo>
                  <a:pt x="538054" y="7305"/>
                  <a:pt x="527187" y="19959"/>
                  <a:pt x="545306" y="11906"/>
                </a:cubicBezTo>
                <a:cubicBezTo>
                  <a:pt x="548933" y="10294"/>
                  <a:pt x="551601" y="7069"/>
                  <a:pt x="554831" y="4762"/>
                </a:cubicBezTo>
                <a:cubicBezTo>
                  <a:pt x="557160" y="3099"/>
                  <a:pt x="559594" y="1587"/>
                  <a:pt x="561975" y="0"/>
                </a:cubicBezTo>
                <a:cubicBezTo>
                  <a:pt x="578978" y="5667"/>
                  <a:pt x="572086" y="1977"/>
                  <a:pt x="583406" y="9525"/>
                </a:cubicBezTo>
                <a:cubicBezTo>
                  <a:pt x="589074" y="26527"/>
                  <a:pt x="585385" y="19635"/>
                  <a:pt x="592931" y="30956"/>
                </a:cubicBezTo>
                <a:cubicBezTo>
                  <a:pt x="593725" y="47625"/>
                  <a:pt x="594603" y="64290"/>
                  <a:pt x="595313" y="80962"/>
                </a:cubicBezTo>
                <a:cubicBezTo>
                  <a:pt x="596191" y="101596"/>
                  <a:pt x="595766" y="122312"/>
                  <a:pt x="597694" y="142875"/>
                </a:cubicBezTo>
                <a:cubicBezTo>
                  <a:pt x="599279" y="159783"/>
                  <a:pt x="600607" y="154431"/>
                  <a:pt x="609600" y="161925"/>
                </a:cubicBezTo>
                <a:cubicBezTo>
                  <a:pt x="612187" y="164081"/>
                  <a:pt x="614588" y="166481"/>
                  <a:pt x="616744" y="169068"/>
                </a:cubicBezTo>
                <a:cubicBezTo>
                  <a:pt x="625269" y="179298"/>
                  <a:pt x="618521" y="172622"/>
                  <a:pt x="623888" y="183356"/>
                </a:cubicBezTo>
                <a:cubicBezTo>
                  <a:pt x="625168" y="185916"/>
                  <a:pt x="627488" y="187885"/>
                  <a:pt x="628650" y="190500"/>
                </a:cubicBezTo>
                <a:cubicBezTo>
                  <a:pt x="639985" y="216004"/>
                  <a:pt x="627398" y="195763"/>
                  <a:pt x="638175" y="211931"/>
                </a:cubicBezTo>
                <a:cubicBezTo>
                  <a:pt x="641050" y="223432"/>
                  <a:pt x="642938" y="229179"/>
                  <a:pt x="642938" y="242887"/>
                </a:cubicBezTo>
                <a:cubicBezTo>
                  <a:pt x="642938" y="250075"/>
                  <a:pt x="642829" y="257499"/>
                  <a:pt x="640556" y="264318"/>
                </a:cubicBezTo>
                <a:cubicBezTo>
                  <a:pt x="638746" y="269748"/>
                  <a:pt x="634206" y="273843"/>
                  <a:pt x="631031" y="278606"/>
                </a:cubicBezTo>
                <a:lnTo>
                  <a:pt x="626269" y="285750"/>
                </a:lnTo>
                <a:lnTo>
                  <a:pt x="616744" y="300037"/>
                </a:lnTo>
                <a:lnTo>
                  <a:pt x="611981" y="314325"/>
                </a:lnTo>
                <a:lnTo>
                  <a:pt x="609600" y="321468"/>
                </a:lnTo>
                <a:cubicBezTo>
                  <a:pt x="616660" y="349710"/>
                  <a:pt x="605828" y="304991"/>
                  <a:pt x="614363" y="347662"/>
                </a:cubicBezTo>
                <a:cubicBezTo>
                  <a:pt x="615896" y="355328"/>
                  <a:pt x="618407" y="356585"/>
                  <a:pt x="621506" y="364331"/>
                </a:cubicBezTo>
                <a:cubicBezTo>
                  <a:pt x="621515" y="364354"/>
                  <a:pt x="627456" y="382178"/>
                  <a:pt x="628650" y="385762"/>
                </a:cubicBezTo>
                <a:cubicBezTo>
                  <a:pt x="636655" y="409780"/>
                  <a:pt x="624439" y="372519"/>
                  <a:pt x="633413" y="402431"/>
                </a:cubicBezTo>
                <a:cubicBezTo>
                  <a:pt x="634856" y="407239"/>
                  <a:pt x="635390" y="412541"/>
                  <a:pt x="638175" y="416718"/>
                </a:cubicBezTo>
                <a:lnTo>
                  <a:pt x="642938" y="423862"/>
                </a:lnTo>
                <a:cubicBezTo>
                  <a:pt x="644525" y="428625"/>
                  <a:pt x="644915" y="433973"/>
                  <a:pt x="647700" y="438150"/>
                </a:cubicBezTo>
                <a:cubicBezTo>
                  <a:pt x="650875" y="442912"/>
                  <a:pt x="655415" y="447007"/>
                  <a:pt x="657225" y="452437"/>
                </a:cubicBezTo>
                <a:cubicBezTo>
                  <a:pt x="658019" y="454818"/>
                  <a:pt x="658483" y="457336"/>
                  <a:pt x="659606" y="459581"/>
                </a:cubicBezTo>
                <a:cubicBezTo>
                  <a:pt x="660886" y="462141"/>
                  <a:pt x="662345" y="464701"/>
                  <a:pt x="664369" y="466725"/>
                </a:cubicBezTo>
                <a:cubicBezTo>
                  <a:pt x="668984" y="471340"/>
                  <a:pt x="672847" y="471932"/>
                  <a:pt x="678656" y="473868"/>
                </a:cubicBezTo>
                <a:cubicBezTo>
                  <a:pt x="700141" y="468497"/>
                  <a:pt x="691496" y="471176"/>
                  <a:pt x="704850" y="466725"/>
                </a:cubicBezTo>
                <a:cubicBezTo>
                  <a:pt x="713381" y="453928"/>
                  <a:pt x="713612" y="456298"/>
                  <a:pt x="716756" y="445293"/>
                </a:cubicBezTo>
                <a:cubicBezTo>
                  <a:pt x="717655" y="442146"/>
                  <a:pt x="718344" y="438943"/>
                  <a:pt x="719138" y="435768"/>
                </a:cubicBezTo>
                <a:cubicBezTo>
                  <a:pt x="718344" y="416718"/>
                  <a:pt x="716756" y="397685"/>
                  <a:pt x="716756" y="378618"/>
                </a:cubicBezTo>
                <a:cubicBezTo>
                  <a:pt x="716756" y="373646"/>
                  <a:pt x="715858" y="335912"/>
                  <a:pt x="723900" y="323850"/>
                </a:cubicBezTo>
                <a:lnTo>
                  <a:pt x="728663" y="316706"/>
                </a:lnTo>
                <a:cubicBezTo>
                  <a:pt x="729457" y="314325"/>
                  <a:pt x="729922" y="311807"/>
                  <a:pt x="731044" y="309562"/>
                </a:cubicBezTo>
                <a:cubicBezTo>
                  <a:pt x="735479" y="300691"/>
                  <a:pt x="736365" y="303176"/>
                  <a:pt x="742950" y="295275"/>
                </a:cubicBezTo>
                <a:cubicBezTo>
                  <a:pt x="744782" y="293076"/>
                  <a:pt x="746125" y="290512"/>
                  <a:pt x="747713" y="288131"/>
                </a:cubicBezTo>
                <a:cubicBezTo>
                  <a:pt x="748507" y="285750"/>
                  <a:pt x="748972" y="283232"/>
                  <a:pt x="750094" y="280987"/>
                </a:cubicBezTo>
                <a:cubicBezTo>
                  <a:pt x="751374" y="278427"/>
                  <a:pt x="753729" y="276473"/>
                  <a:pt x="754856" y="273843"/>
                </a:cubicBezTo>
                <a:cubicBezTo>
                  <a:pt x="756762" y="269397"/>
                  <a:pt x="758802" y="252163"/>
                  <a:pt x="762000" y="250031"/>
                </a:cubicBezTo>
                <a:lnTo>
                  <a:pt x="769144" y="245268"/>
                </a:lnTo>
                <a:cubicBezTo>
                  <a:pt x="770731" y="242887"/>
                  <a:pt x="771883" y="240148"/>
                  <a:pt x="773906" y="238125"/>
                </a:cubicBezTo>
                <a:cubicBezTo>
                  <a:pt x="775930" y="236101"/>
                  <a:pt x="778851" y="235194"/>
                  <a:pt x="781050" y="233362"/>
                </a:cubicBezTo>
                <a:cubicBezTo>
                  <a:pt x="783637" y="231206"/>
                  <a:pt x="785813" y="228599"/>
                  <a:pt x="788194" y="226218"/>
                </a:cubicBezTo>
                <a:lnTo>
                  <a:pt x="792956" y="211931"/>
                </a:lnTo>
                <a:cubicBezTo>
                  <a:pt x="793750" y="209550"/>
                  <a:pt x="794846" y="207248"/>
                  <a:pt x="795338" y="204787"/>
                </a:cubicBezTo>
                <a:lnTo>
                  <a:pt x="797719" y="192881"/>
                </a:lnTo>
                <a:cubicBezTo>
                  <a:pt x="796574" y="183716"/>
                  <a:pt x="797271" y="172117"/>
                  <a:pt x="790575" y="164306"/>
                </a:cubicBezTo>
                <a:cubicBezTo>
                  <a:pt x="787992" y="161293"/>
                  <a:pt x="784225" y="159543"/>
                  <a:pt x="781050" y="157162"/>
                </a:cubicBezTo>
                <a:cubicBezTo>
                  <a:pt x="779463" y="154781"/>
                  <a:pt x="778312" y="152042"/>
                  <a:pt x="776288" y="150018"/>
                </a:cubicBezTo>
                <a:cubicBezTo>
                  <a:pt x="774264" y="147994"/>
                  <a:pt x="769615" y="148079"/>
                  <a:pt x="769144" y="145256"/>
                </a:cubicBezTo>
                <a:cubicBezTo>
                  <a:pt x="767832" y="137387"/>
                  <a:pt x="770312" y="129328"/>
                  <a:pt x="771525" y="121443"/>
                </a:cubicBezTo>
                <a:cubicBezTo>
                  <a:pt x="771907" y="118962"/>
                  <a:pt x="772131" y="116075"/>
                  <a:pt x="773906" y="114300"/>
                </a:cubicBezTo>
                <a:cubicBezTo>
                  <a:pt x="777954" y="110253"/>
                  <a:pt x="788194" y="104775"/>
                  <a:pt x="788194" y="104775"/>
                </a:cubicBezTo>
                <a:cubicBezTo>
                  <a:pt x="792163" y="105569"/>
                  <a:pt x="796260" y="105876"/>
                  <a:pt x="800100" y="107156"/>
                </a:cubicBezTo>
                <a:cubicBezTo>
                  <a:pt x="807878" y="109748"/>
                  <a:pt x="811630" y="112895"/>
                  <a:pt x="816769" y="119062"/>
                </a:cubicBezTo>
                <a:cubicBezTo>
                  <a:pt x="818601" y="121261"/>
                  <a:pt x="819944" y="123825"/>
                  <a:pt x="821531" y="126206"/>
                </a:cubicBezTo>
                <a:cubicBezTo>
                  <a:pt x="822472" y="132794"/>
                  <a:pt x="824062" y="151011"/>
                  <a:pt x="828675" y="157162"/>
                </a:cubicBezTo>
                <a:cubicBezTo>
                  <a:pt x="831056" y="160337"/>
                  <a:pt x="833512" y="163457"/>
                  <a:pt x="835819" y="166687"/>
                </a:cubicBezTo>
                <a:cubicBezTo>
                  <a:pt x="842551" y="176112"/>
                  <a:pt x="837359" y="172757"/>
                  <a:pt x="847725" y="176212"/>
                </a:cubicBezTo>
                <a:cubicBezTo>
                  <a:pt x="850106" y="177800"/>
                  <a:pt x="852029" y="180620"/>
                  <a:pt x="854869" y="180975"/>
                </a:cubicBezTo>
                <a:cubicBezTo>
                  <a:pt x="864136" y="182133"/>
                  <a:pt x="868856" y="177959"/>
                  <a:pt x="873919" y="171450"/>
                </a:cubicBezTo>
                <a:cubicBezTo>
                  <a:pt x="877433" y="166932"/>
                  <a:pt x="879397" y="161209"/>
                  <a:pt x="883444" y="157162"/>
                </a:cubicBezTo>
                <a:lnTo>
                  <a:pt x="897731" y="142875"/>
                </a:lnTo>
                <a:cubicBezTo>
                  <a:pt x="899319" y="138112"/>
                  <a:pt x="901277" y="133457"/>
                  <a:pt x="902494" y="128587"/>
                </a:cubicBezTo>
                <a:cubicBezTo>
                  <a:pt x="903288" y="125412"/>
                  <a:pt x="903586" y="122070"/>
                  <a:pt x="904875" y="119062"/>
                </a:cubicBezTo>
                <a:cubicBezTo>
                  <a:pt x="906002" y="116431"/>
                  <a:pt x="908050" y="114299"/>
                  <a:pt x="909638" y="111918"/>
                </a:cubicBezTo>
                <a:cubicBezTo>
                  <a:pt x="916865" y="90237"/>
                  <a:pt x="905776" y="124489"/>
                  <a:pt x="914400" y="92868"/>
                </a:cubicBezTo>
                <a:cubicBezTo>
                  <a:pt x="915721" y="88025"/>
                  <a:pt x="917575" y="83343"/>
                  <a:pt x="919163" y="78581"/>
                </a:cubicBezTo>
                <a:cubicBezTo>
                  <a:pt x="919957" y="76200"/>
                  <a:pt x="920152" y="73526"/>
                  <a:pt x="921544" y="71437"/>
                </a:cubicBezTo>
                <a:cubicBezTo>
                  <a:pt x="923131" y="69056"/>
                  <a:pt x="924405" y="66432"/>
                  <a:pt x="926306" y="64293"/>
                </a:cubicBezTo>
                <a:cubicBezTo>
                  <a:pt x="930781" y="59259"/>
                  <a:pt x="936858" y="55610"/>
                  <a:pt x="940594" y="50006"/>
                </a:cubicBezTo>
                <a:cubicBezTo>
                  <a:pt x="946943" y="40481"/>
                  <a:pt x="942975" y="44449"/>
                  <a:pt x="952500" y="38100"/>
                </a:cubicBezTo>
                <a:cubicBezTo>
                  <a:pt x="956408" y="26373"/>
                  <a:pt x="952083" y="34478"/>
                  <a:pt x="962025" y="26193"/>
                </a:cubicBezTo>
                <a:cubicBezTo>
                  <a:pt x="968081" y="21147"/>
                  <a:pt x="969012" y="17416"/>
                  <a:pt x="976313" y="14287"/>
                </a:cubicBezTo>
                <a:cubicBezTo>
                  <a:pt x="979321" y="12998"/>
                  <a:pt x="982663" y="12700"/>
                  <a:pt x="985838" y="11906"/>
                </a:cubicBezTo>
                <a:cubicBezTo>
                  <a:pt x="992982" y="12700"/>
                  <a:pt x="1000840" y="11073"/>
                  <a:pt x="1007269" y="14287"/>
                </a:cubicBezTo>
                <a:cubicBezTo>
                  <a:pt x="1012674" y="16989"/>
                  <a:pt x="1007766" y="33896"/>
                  <a:pt x="1007269" y="35718"/>
                </a:cubicBezTo>
                <a:cubicBezTo>
                  <a:pt x="1005288" y="42983"/>
                  <a:pt x="1002506" y="50006"/>
                  <a:pt x="1000125" y="57150"/>
                </a:cubicBezTo>
                <a:cubicBezTo>
                  <a:pt x="999331" y="59531"/>
                  <a:pt x="999136" y="62205"/>
                  <a:pt x="997744" y="64293"/>
                </a:cubicBezTo>
                <a:lnTo>
                  <a:pt x="992981" y="71437"/>
                </a:lnTo>
                <a:cubicBezTo>
                  <a:pt x="987000" y="89384"/>
                  <a:pt x="995065" y="67271"/>
                  <a:pt x="985838" y="85725"/>
                </a:cubicBezTo>
                <a:cubicBezTo>
                  <a:pt x="983931" y="89538"/>
                  <a:pt x="982095" y="98824"/>
                  <a:pt x="981075" y="102393"/>
                </a:cubicBezTo>
                <a:cubicBezTo>
                  <a:pt x="980385" y="104807"/>
                  <a:pt x="979913" y="107343"/>
                  <a:pt x="978694" y="109537"/>
                </a:cubicBezTo>
                <a:cubicBezTo>
                  <a:pt x="975914" y="114541"/>
                  <a:pt x="969169" y="123825"/>
                  <a:pt x="969169" y="123825"/>
                </a:cubicBezTo>
                <a:cubicBezTo>
                  <a:pt x="967581" y="130175"/>
                  <a:pt x="968037" y="137429"/>
                  <a:pt x="964406" y="142875"/>
                </a:cubicBezTo>
                <a:cubicBezTo>
                  <a:pt x="952580" y="160614"/>
                  <a:pt x="967783" y="138822"/>
                  <a:pt x="952500" y="157162"/>
                </a:cubicBezTo>
                <a:cubicBezTo>
                  <a:pt x="950668" y="159361"/>
                  <a:pt x="949570" y="162107"/>
                  <a:pt x="947738" y="164306"/>
                </a:cubicBezTo>
                <a:cubicBezTo>
                  <a:pt x="943976" y="168821"/>
                  <a:pt x="938803" y="173536"/>
                  <a:pt x="933450" y="176212"/>
                </a:cubicBezTo>
                <a:cubicBezTo>
                  <a:pt x="931205" y="177334"/>
                  <a:pt x="928687" y="177799"/>
                  <a:pt x="926306" y="178593"/>
                </a:cubicBezTo>
                <a:cubicBezTo>
                  <a:pt x="900320" y="195921"/>
                  <a:pt x="940374" y="170370"/>
                  <a:pt x="909638" y="185737"/>
                </a:cubicBezTo>
                <a:cubicBezTo>
                  <a:pt x="904518" y="188297"/>
                  <a:pt x="900113" y="192087"/>
                  <a:pt x="895350" y="195262"/>
                </a:cubicBezTo>
                <a:lnTo>
                  <a:pt x="873919" y="209550"/>
                </a:lnTo>
                <a:cubicBezTo>
                  <a:pt x="871538" y="211137"/>
                  <a:pt x="869064" y="212595"/>
                  <a:pt x="866775" y="214312"/>
                </a:cubicBezTo>
                <a:cubicBezTo>
                  <a:pt x="855242" y="222962"/>
                  <a:pt x="861015" y="220201"/>
                  <a:pt x="850106" y="223837"/>
                </a:cubicBezTo>
                <a:cubicBezTo>
                  <a:pt x="844121" y="241794"/>
                  <a:pt x="852891" y="220356"/>
                  <a:pt x="840581" y="235743"/>
                </a:cubicBezTo>
                <a:cubicBezTo>
                  <a:pt x="839013" y="237703"/>
                  <a:pt x="839768" y="240927"/>
                  <a:pt x="838200" y="242887"/>
                </a:cubicBezTo>
                <a:cubicBezTo>
                  <a:pt x="836412" y="245122"/>
                  <a:pt x="833255" y="245818"/>
                  <a:pt x="831056" y="247650"/>
                </a:cubicBezTo>
                <a:cubicBezTo>
                  <a:pt x="828469" y="249806"/>
                  <a:pt x="825980" y="252135"/>
                  <a:pt x="823913" y="254793"/>
                </a:cubicBezTo>
                <a:cubicBezTo>
                  <a:pt x="820399" y="259311"/>
                  <a:pt x="816199" y="263651"/>
                  <a:pt x="814388" y="269081"/>
                </a:cubicBezTo>
                <a:cubicBezTo>
                  <a:pt x="813594" y="271462"/>
                  <a:pt x="813574" y="274265"/>
                  <a:pt x="812006" y="276225"/>
                </a:cubicBezTo>
                <a:cubicBezTo>
                  <a:pt x="810218" y="278460"/>
                  <a:pt x="807244" y="279400"/>
                  <a:pt x="804863" y="280987"/>
                </a:cubicBezTo>
                <a:cubicBezTo>
                  <a:pt x="796174" y="307048"/>
                  <a:pt x="810032" y="267570"/>
                  <a:pt x="797719" y="295275"/>
                </a:cubicBezTo>
                <a:cubicBezTo>
                  <a:pt x="795680" y="299862"/>
                  <a:pt x="794544" y="304800"/>
                  <a:pt x="792956" y="309562"/>
                </a:cubicBezTo>
                <a:cubicBezTo>
                  <a:pt x="792162" y="311943"/>
                  <a:pt x="792081" y="314698"/>
                  <a:pt x="790575" y="316706"/>
                </a:cubicBezTo>
                <a:lnTo>
                  <a:pt x="783431" y="326231"/>
                </a:lnTo>
                <a:cubicBezTo>
                  <a:pt x="771363" y="362439"/>
                  <a:pt x="785564" y="316992"/>
                  <a:pt x="776288" y="357187"/>
                </a:cubicBezTo>
                <a:cubicBezTo>
                  <a:pt x="775159" y="362079"/>
                  <a:pt x="772509" y="366552"/>
                  <a:pt x="771525" y="371475"/>
                </a:cubicBezTo>
                <a:cubicBezTo>
                  <a:pt x="770731" y="375444"/>
                  <a:pt x="769868" y="379399"/>
                  <a:pt x="769144" y="383381"/>
                </a:cubicBezTo>
                <a:cubicBezTo>
                  <a:pt x="768280" y="388131"/>
                  <a:pt x="767710" y="392934"/>
                  <a:pt x="766763" y="397668"/>
                </a:cubicBezTo>
                <a:cubicBezTo>
                  <a:pt x="766121" y="400877"/>
                  <a:pt x="765023" y="403984"/>
                  <a:pt x="764381" y="407193"/>
                </a:cubicBezTo>
                <a:cubicBezTo>
                  <a:pt x="763434" y="411928"/>
                  <a:pt x="762794" y="416718"/>
                  <a:pt x="762000" y="421481"/>
                </a:cubicBezTo>
                <a:cubicBezTo>
                  <a:pt x="761206" y="434975"/>
                  <a:pt x="760741" y="448492"/>
                  <a:pt x="759619" y="461962"/>
                </a:cubicBezTo>
                <a:cubicBezTo>
                  <a:pt x="759153" y="467555"/>
                  <a:pt x="757238" y="473018"/>
                  <a:pt x="757238" y="478631"/>
                </a:cubicBezTo>
                <a:cubicBezTo>
                  <a:pt x="757238" y="516739"/>
                  <a:pt x="758962" y="554828"/>
                  <a:pt x="759619" y="592931"/>
                </a:cubicBezTo>
                <a:cubicBezTo>
                  <a:pt x="762456" y="757506"/>
                  <a:pt x="710769" y="737781"/>
                  <a:pt x="769144" y="757237"/>
                </a:cubicBezTo>
                <a:cubicBezTo>
                  <a:pt x="786536" y="751440"/>
                  <a:pt x="778561" y="753693"/>
                  <a:pt x="792956" y="750093"/>
                </a:cubicBezTo>
                <a:cubicBezTo>
                  <a:pt x="796131" y="747712"/>
                  <a:pt x="799940" y="745999"/>
                  <a:pt x="802481" y="742950"/>
                </a:cubicBezTo>
                <a:cubicBezTo>
                  <a:pt x="816863" y="725693"/>
                  <a:pt x="790125" y="745633"/>
                  <a:pt x="812006" y="731043"/>
                </a:cubicBezTo>
                <a:cubicBezTo>
                  <a:pt x="815181" y="726281"/>
                  <a:pt x="819721" y="722186"/>
                  <a:pt x="821531" y="716756"/>
                </a:cubicBezTo>
                <a:cubicBezTo>
                  <a:pt x="827199" y="699753"/>
                  <a:pt x="822117" y="705253"/>
                  <a:pt x="833438" y="697706"/>
                </a:cubicBezTo>
                <a:cubicBezTo>
                  <a:pt x="836613" y="692943"/>
                  <a:pt x="841153" y="688848"/>
                  <a:pt x="842963" y="683418"/>
                </a:cubicBezTo>
                <a:cubicBezTo>
                  <a:pt x="843757" y="681037"/>
                  <a:pt x="843776" y="678235"/>
                  <a:pt x="845344" y="676275"/>
                </a:cubicBezTo>
                <a:cubicBezTo>
                  <a:pt x="847132" y="674040"/>
                  <a:pt x="850107" y="673100"/>
                  <a:pt x="852488" y="671512"/>
                </a:cubicBezTo>
                <a:lnTo>
                  <a:pt x="857250" y="657225"/>
                </a:lnTo>
                <a:cubicBezTo>
                  <a:pt x="859187" y="651414"/>
                  <a:pt x="859777" y="647554"/>
                  <a:pt x="864394" y="642937"/>
                </a:cubicBezTo>
                <a:cubicBezTo>
                  <a:pt x="866418" y="640913"/>
                  <a:pt x="869157" y="639762"/>
                  <a:pt x="871538" y="638175"/>
                </a:cubicBezTo>
                <a:cubicBezTo>
                  <a:pt x="877521" y="620225"/>
                  <a:pt x="869452" y="642345"/>
                  <a:pt x="878681" y="623887"/>
                </a:cubicBezTo>
                <a:cubicBezTo>
                  <a:pt x="888537" y="604175"/>
                  <a:pt x="872182" y="630064"/>
                  <a:pt x="885825" y="609600"/>
                </a:cubicBezTo>
                <a:lnTo>
                  <a:pt x="892969" y="588168"/>
                </a:lnTo>
                <a:cubicBezTo>
                  <a:pt x="893763" y="585787"/>
                  <a:pt x="894858" y="583486"/>
                  <a:pt x="895350" y="581025"/>
                </a:cubicBezTo>
                <a:cubicBezTo>
                  <a:pt x="896144" y="577056"/>
                  <a:pt x="897115" y="573119"/>
                  <a:pt x="897731" y="569118"/>
                </a:cubicBezTo>
                <a:cubicBezTo>
                  <a:pt x="898704" y="562793"/>
                  <a:pt x="899061" y="556380"/>
                  <a:pt x="900113" y="550068"/>
                </a:cubicBezTo>
                <a:cubicBezTo>
                  <a:pt x="901603" y="541129"/>
                  <a:pt x="902609" y="541331"/>
                  <a:pt x="904875" y="533400"/>
                </a:cubicBezTo>
                <a:cubicBezTo>
                  <a:pt x="905602" y="530855"/>
                  <a:pt x="907956" y="519758"/>
                  <a:pt x="909638" y="516731"/>
                </a:cubicBezTo>
                <a:cubicBezTo>
                  <a:pt x="914216" y="508490"/>
                  <a:pt x="919124" y="501285"/>
                  <a:pt x="926306" y="495300"/>
                </a:cubicBezTo>
                <a:cubicBezTo>
                  <a:pt x="928505" y="493468"/>
                  <a:pt x="931069" y="492125"/>
                  <a:pt x="933450" y="490537"/>
                </a:cubicBezTo>
                <a:cubicBezTo>
                  <a:pt x="946152" y="471485"/>
                  <a:pt x="929481" y="494506"/>
                  <a:pt x="945356" y="478631"/>
                </a:cubicBezTo>
                <a:cubicBezTo>
                  <a:pt x="956127" y="467860"/>
                  <a:pt x="943356" y="473741"/>
                  <a:pt x="957263" y="469106"/>
                </a:cubicBezTo>
                <a:cubicBezTo>
                  <a:pt x="968583" y="461558"/>
                  <a:pt x="961691" y="465248"/>
                  <a:pt x="978694" y="459581"/>
                </a:cubicBezTo>
                <a:lnTo>
                  <a:pt x="985838" y="457200"/>
                </a:lnTo>
                <a:lnTo>
                  <a:pt x="992981" y="454818"/>
                </a:lnTo>
                <a:cubicBezTo>
                  <a:pt x="995362" y="452437"/>
                  <a:pt x="997323" y="449543"/>
                  <a:pt x="1000125" y="447675"/>
                </a:cubicBezTo>
                <a:cubicBezTo>
                  <a:pt x="1002214" y="446283"/>
                  <a:pt x="1004834" y="445902"/>
                  <a:pt x="1007269" y="445293"/>
                </a:cubicBezTo>
                <a:lnTo>
                  <a:pt x="1026319" y="440531"/>
                </a:lnTo>
                <a:cubicBezTo>
                  <a:pt x="1036276" y="433893"/>
                  <a:pt x="1040755" y="432256"/>
                  <a:pt x="1047750" y="423862"/>
                </a:cubicBezTo>
                <a:cubicBezTo>
                  <a:pt x="1049582" y="421663"/>
                  <a:pt x="1050925" y="419099"/>
                  <a:pt x="1052513" y="416718"/>
                </a:cubicBezTo>
                <a:cubicBezTo>
                  <a:pt x="1057956" y="400390"/>
                  <a:pt x="1051529" y="420655"/>
                  <a:pt x="1057275" y="397668"/>
                </a:cubicBezTo>
                <a:cubicBezTo>
                  <a:pt x="1057884" y="395233"/>
                  <a:pt x="1058862" y="392906"/>
                  <a:pt x="1059656" y="390525"/>
                </a:cubicBezTo>
                <a:cubicBezTo>
                  <a:pt x="1060450" y="377031"/>
                  <a:pt x="1060427" y="363464"/>
                  <a:pt x="1062038" y="350043"/>
                </a:cubicBezTo>
                <a:cubicBezTo>
                  <a:pt x="1062818" y="343544"/>
                  <a:pt x="1064730" y="337202"/>
                  <a:pt x="1066800" y="330993"/>
                </a:cubicBezTo>
                <a:lnTo>
                  <a:pt x="1071563" y="316706"/>
                </a:lnTo>
                <a:cubicBezTo>
                  <a:pt x="1072357" y="293687"/>
                  <a:pt x="1072507" y="270638"/>
                  <a:pt x="1073944" y="247650"/>
                </a:cubicBezTo>
                <a:cubicBezTo>
                  <a:pt x="1074101" y="245145"/>
                  <a:pt x="1075635" y="242920"/>
                  <a:pt x="1076325" y="240506"/>
                </a:cubicBezTo>
                <a:cubicBezTo>
                  <a:pt x="1077224" y="237359"/>
                  <a:pt x="1077807" y="234128"/>
                  <a:pt x="1078706" y="230981"/>
                </a:cubicBezTo>
                <a:cubicBezTo>
                  <a:pt x="1079396" y="228567"/>
                  <a:pt x="1079696" y="225926"/>
                  <a:pt x="1081088" y="223837"/>
                </a:cubicBezTo>
                <a:cubicBezTo>
                  <a:pt x="1082956" y="221035"/>
                  <a:pt x="1085850" y="219074"/>
                  <a:pt x="1088231" y="216693"/>
                </a:cubicBezTo>
                <a:cubicBezTo>
                  <a:pt x="1089025" y="214312"/>
                  <a:pt x="1088838" y="211325"/>
                  <a:pt x="1090613" y="209550"/>
                </a:cubicBezTo>
                <a:cubicBezTo>
                  <a:pt x="1094848" y="205315"/>
                  <a:pt x="1100665" y="207433"/>
                  <a:pt x="1104900" y="209550"/>
                </a:cubicBezTo>
                <a:cubicBezTo>
                  <a:pt x="1110253" y="212227"/>
                  <a:pt x="1115425" y="216940"/>
                  <a:pt x="1119188" y="221456"/>
                </a:cubicBezTo>
                <a:cubicBezTo>
                  <a:pt x="1121020" y="223655"/>
                  <a:pt x="1122363" y="226219"/>
                  <a:pt x="1123950" y="228600"/>
                </a:cubicBezTo>
                <a:cubicBezTo>
                  <a:pt x="1122813" y="252481"/>
                  <a:pt x="1123045" y="274517"/>
                  <a:pt x="1119188" y="297656"/>
                </a:cubicBezTo>
                <a:cubicBezTo>
                  <a:pt x="1118650" y="300884"/>
                  <a:pt x="1117600" y="304006"/>
                  <a:pt x="1116806" y="307181"/>
                </a:cubicBezTo>
                <a:cubicBezTo>
                  <a:pt x="1116012" y="314325"/>
                  <a:pt x="1115106" y="321457"/>
                  <a:pt x="1114425" y="328612"/>
                </a:cubicBezTo>
                <a:cubicBezTo>
                  <a:pt x="1113519" y="338127"/>
                  <a:pt x="1113307" y="347713"/>
                  <a:pt x="1112044" y="357187"/>
                </a:cubicBezTo>
                <a:cubicBezTo>
                  <a:pt x="1111712" y="359675"/>
                  <a:pt x="1110353" y="361917"/>
                  <a:pt x="1109663" y="364331"/>
                </a:cubicBezTo>
                <a:cubicBezTo>
                  <a:pt x="1108764" y="367478"/>
                  <a:pt x="1108570" y="370848"/>
                  <a:pt x="1107281" y="373856"/>
                </a:cubicBezTo>
                <a:cubicBezTo>
                  <a:pt x="1098336" y="394728"/>
                  <a:pt x="1105872" y="368077"/>
                  <a:pt x="1100138" y="388143"/>
                </a:cubicBezTo>
                <a:cubicBezTo>
                  <a:pt x="1099122" y="391698"/>
                  <a:pt x="1097276" y="401009"/>
                  <a:pt x="1095375" y="404812"/>
                </a:cubicBezTo>
                <a:cubicBezTo>
                  <a:pt x="1094095" y="407372"/>
                  <a:pt x="1091775" y="409341"/>
                  <a:pt x="1090613" y="411956"/>
                </a:cubicBezTo>
                <a:cubicBezTo>
                  <a:pt x="1088574" y="416543"/>
                  <a:pt x="1087438" y="421481"/>
                  <a:pt x="1085850" y="426243"/>
                </a:cubicBezTo>
                <a:lnTo>
                  <a:pt x="1083469" y="433387"/>
                </a:lnTo>
                <a:cubicBezTo>
                  <a:pt x="1084263" y="439737"/>
                  <a:pt x="1081034" y="448223"/>
                  <a:pt x="1085850" y="452437"/>
                </a:cubicBezTo>
                <a:cubicBezTo>
                  <a:pt x="1088869" y="455079"/>
                  <a:pt x="1104410" y="449426"/>
                  <a:pt x="1109663" y="447675"/>
                </a:cubicBezTo>
                <a:cubicBezTo>
                  <a:pt x="1114149" y="443189"/>
                  <a:pt x="1117982" y="438420"/>
                  <a:pt x="1123950" y="435768"/>
                </a:cubicBezTo>
                <a:cubicBezTo>
                  <a:pt x="1128538" y="433729"/>
                  <a:pt x="1133475" y="432593"/>
                  <a:pt x="1138238" y="431006"/>
                </a:cubicBezTo>
                <a:lnTo>
                  <a:pt x="1145381" y="428625"/>
                </a:lnTo>
                <a:cubicBezTo>
                  <a:pt x="1147762" y="427037"/>
                  <a:pt x="1149965" y="425142"/>
                  <a:pt x="1152525" y="423862"/>
                </a:cubicBezTo>
                <a:cubicBezTo>
                  <a:pt x="1154770" y="422739"/>
                  <a:pt x="1157580" y="422873"/>
                  <a:pt x="1159669" y="421481"/>
                </a:cubicBezTo>
                <a:cubicBezTo>
                  <a:pt x="1162471" y="419613"/>
                  <a:pt x="1163736" y="415705"/>
                  <a:pt x="1166813" y="414337"/>
                </a:cubicBezTo>
                <a:cubicBezTo>
                  <a:pt x="1171225" y="412376"/>
                  <a:pt x="1176416" y="413127"/>
                  <a:pt x="1181100" y="411956"/>
                </a:cubicBezTo>
                <a:cubicBezTo>
                  <a:pt x="1185970" y="410738"/>
                  <a:pt x="1195388" y="407193"/>
                  <a:pt x="1195388" y="407193"/>
                </a:cubicBezTo>
                <a:cubicBezTo>
                  <a:pt x="1206579" y="396002"/>
                  <a:pt x="1200662" y="402853"/>
                  <a:pt x="1212056" y="385762"/>
                </a:cubicBezTo>
                <a:lnTo>
                  <a:pt x="1221581" y="371475"/>
                </a:lnTo>
                <a:cubicBezTo>
                  <a:pt x="1222375" y="369094"/>
                  <a:pt x="1222571" y="366420"/>
                  <a:pt x="1223963" y="364331"/>
                </a:cubicBezTo>
                <a:cubicBezTo>
                  <a:pt x="1225831" y="361529"/>
                  <a:pt x="1229149" y="359927"/>
                  <a:pt x="1231106" y="357187"/>
                </a:cubicBezTo>
                <a:cubicBezTo>
                  <a:pt x="1233169" y="354298"/>
                  <a:pt x="1234108" y="350744"/>
                  <a:pt x="1235869" y="347662"/>
                </a:cubicBezTo>
                <a:cubicBezTo>
                  <a:pt x="1237289" y="345177"/>
                  <a:pt x="1239044" y="342899"/>
                  <a:pt x="1240631" y="340518"/>
                </a:cubicBezTo>
                <a:cubicBezTo>
                  <a:pt x="1241425" y="337343"/>
                  <a:pt x="1241724" y="334001"/>
                  <a:pt x="1243013" y="330993"/>
                </a:cubicBezTo>
                <a:cubicBezTo>
                  <a:pt x="1244699" y="327059"/>
                  <a:pt x="1251570" y="318799"/>
                  <a:pt x="1254919" y="316706"/>
                </a:cubicBezTo>
                <a:cubicBezTo>
                  <a:pt x="1258544" y="314440"/>
                  <a:pt x="1262856" y="313531"/>
                  <a:pt x="1266825" y="311943"/>
                </a:cubicBezTo>
                <a:cubicBezTo>
                  <a:pt x="1268413" y="309562"/>
                  <a:pt x="1269353" y="306588"/>
                  <a:pt x="1271588" y="304800"/>
                </a:cubicBezTo>
                <a:cubicBezTo>
                  <a:pt x="1278673" y="299132"/>
                  <a:pt x="1300469" y="304592"/>
                  <a:pt x="1302544" y="304800"/>
                </a:cubicBezTo>
                <a:cubicBezTo>
                  <a:pt x="1304925" y="307181"/>
                  <a:pt x="1307820" y="309141"/>
                  <a:pt x="1309688" y="311943"/>
                </a:cubicBezTo>
                <a:cubicBezTo>
                  <a:pt x="1313758" y="318048"/>
                  <a:pt x="1312169" y="327421"/>
                  <a:pt x="1309688" y="333375"/>
                </a:cubicBezTo>
                <a:cubicBezTo>
                  <a:pt x="1307487" y="338658"/>
                  <a:pt x="1301973" y="342232"/>
                  <a:pt x="1300163" y="347662"/>
                </a:cubicBezTo>
                <a:cubicBezTo>
                  <a:pt x="1299369" y="350043"/>
                  <a:pt x="1299000" y="352612"/>
                  <a:pt x="1297781" y="354806"/>
                </a:cubicBezTo>
                <a:cubicBezTo>
                  <a:pt x="1295001" y="359809"/>
                  <a:pt x="1293018" y="365918"/>
                  <a:pt x="1288256" y="369093"/>
                </a:cubicBezTo>
                <a:lnTo>
                  <a:pt x="1273969" y="378618"/>
                </a:lnTo>
                <a:cubicBezTo>
                  <a:pt x="1270794" y="383381"/>
                  <a:pt x="1266254" y="387476"/>
                  <a:pt x="1264444" y="392906"/>
                </a:cubicBezTo>
                <a:cubicBezTo>
                  <a:pt x="1262507" y="398718"/>
                  <a:pt x="1261918" y="402576"/>
                  <a:pt x="1257300" y="407193"/>
                </a:cubicBezTo>
                <a:cubicBezTo>
                  <a:pt x="1255276" y="409217"/>
                  <a:pt x="1252537" y="410368"/>
                  <a:pt x="1250156" y="411956"/>
                </a:cubicBezTo>
                <a:cubicBezTo>
                  <a:pt x="1248381" y="417280"/>
                  <a:pt x="1245959" y="428725"/>
                  <a:pt x="1240631" y="433387"/>
                </a:cubicBezTo>
                <a:cubicBezTo>
                  <a:pt x="1236324" y="437156"/>
                  <a:pt x="1231106" y="439737"/>
                  <a:pt x="1226344" y="442912"/>
                </a:cubicBezTo>
                <a:cubicBezTo>
                  <a:pt x="1219897" y="447210"/>
                  <a:pt x="1217232" y="449414"/>
                  <a:pt x="1209675" y="452437"/>
                </a:cubicBezTo>
                <a:cubicBezTo>
                  <a:pt x="1205014" y="454301"/>
                  <a:pt x="1200369" y="456577"/>
                  <a:pt x="1195388" y="457200"/>
                </a:cubicBezTo>
                <a:lnTo>
                  <a:pt x="1176338" y="459581"/>
                </a:lnTo>
                <a:cubicBezTo>
                  <a:pt x="1173957" y="460375"/>
                  <a:pt x="1171388" y="460743"/>
                  <a:pt x="1169194" y="461962"/>
                </a:cubicBezTo>
                <a:cubicBezTo>
                  <a:pt x="1164190" y="464742"/>
                  <a:pt x="1160336" y="469677"/>
                  <a:pt x="1154906" y="471487"/>
                </a:cubicBezTo>
                <a:cubicBezTo>
                  <a:pt x="1141685" y="475895"/>
                  <a:pt x="1131440" y="479967"/>
                  <a:pt x="1116806" y="481012"/>
                </a:cubicBezTo>
                <a:lnTo>
                  <a:pt x="1083469" y="483393"/>
                </a:lnTo>
                <a:cubicBezTo>
                  <a:pt x="1080294" y="484187"/>
                  <a:pt x="1076952" y="484486"/>
                  <a:pt x="1073944" y="485775"/>
                </a:cubicBezTo>
                <a:cubicBezTo>
                  <a:pt x="1071314" y="486902"/>
                  <a:pt x="1069360" y="489257"/>
                  <a:pt x="1066800" y="490537"/>
                </a:cubicBezTo>
                <a:cubicBezTo>
                  <a:pt x="1064555" y="491659"/>
                  <a:pt x="1062037" y="492124"/>
                  <a:pt x="1059656" y="492918"/>
                </a:cubicBezTo>
                <a:cubicBezTo>
                  <a:pt x="1054004" y="496686"/>
                  <a:pt x="1048155" y="500397"/>
                  <a:pt x="1042988" y="504825"/>
                </a:cubicBezTo>
                <a:cubicBezTo>
                  <a:pt x="1040431" y="507016"/>
                  <a:pt x="1038502" y="509901"/>
                  <a:pt x="1035844" y="511968"/>
                </a:cubicBezTo>
                <a:cubicBezTo>
                  <a:pt x="1031326" y="515482"/>
                  <a:pt x="1026319" y="518318"/>
                  <a:pt x="1021556" y="521493"/>
                </a:cubicBezTo>
                <a:lnTo>
                  <a:pt x="1014413" y="526256"/>
                </a:lnTo>
                <a:cubicBezTo>
                  <a:pt x="1000017" y="555046"/>
                  <a:pt x="1019338" y="520345"/>
                  <a:pt x="1002506" y="540543"/>
                </a:cubicBezTo>
                <a:cubicBezTo>
                  <a:pt x="997860" y="546118"/>
                  <a:pt x="997990" y="551081"/>
                  <a:pt x="995363" y="557212"/>
                </a:cubicBezTo>
                <a:cubicBezTo>
                  <a:pt x="990662" y="568181"/>
                  <a:pt x="991622" y="565715"/>
                  <a:pt x="983456" y="573881"/>
                </a:cubicBezTo>
                <a:cubicBezTo>
                  <a:pt x="981869" y="578643"/>
                  <a:pt x="979678" y="583246"/>
                  <a:pt x="978694" y="588168"/>
                </a:cubicBezTo>
                <a:cubicBezTo>
                  <a:pt x="977900" y="592137"/>
                  <a:pt x="977988" y="596390"/>
                  <a:pt x="976313" y="600075"/>
                </a:cubicBezTo>
                <a:cubicBezTo>
                  <a:pt x="973945" y="605286"/>
                  <a:pt x="968598" y="608932"/>
                  <a:pt x="966788" y="614362"/>
                </a:cubicBezTo>
                <a:cubicBezTo>
                  <a:pt x="965994" y="616743"/>
                  <a:pt x="965798" y="619417"/>
                  <a:pt x="964406" y="621506"/>
                </a:cubicBezTo>
                <a:cubicBezTo>
                  <a:pt x="962538" y="624308"/>
                  <a:pt x="959644" y="626269"/>
                  <a:pt x="957263" y="628650"/>
                </a:cubicBezTo>
                <a:cubicBezTo>
                  <a:pt x="951273" y="646614"/>
                  <a:pt x="959355" y="624462"/>
                  <a:pt x="950119" y="642937"/>
                </a:cubicBezTo>
                <a:cubicBezTo>
                  <a:pt x="948997" y="645182"/>
                  <a:pt x="948861" y="647836"/>
                  <a:pt x="947738" y="650081"/>
                </a:cubicBezTo>
                <a:cubicBezTo>
                  <a:pt x="946231" y="653096"/>
                  <a:pt x="937125" y="665241"/>
                  <a:pt x="935831" y="666750"/>
                </a:cubicBezTo>
                <a:cubicBezTo>
                  <a:pt x="933640" y="669307"/>
                  <a:pt x="930844" y="671306"/>
                  <a:pt x="928688" y="673893"/>
                </a:cubicBezTo>
                <a:cubicBezTo>
                  <a:pt x="926856" y="676092"/>
                  <a:pt x="925810" y="678883"/>
                  <a:pt x="923925" y="681037"/>
                </a:cubicBezTo>
                <a:cubicBezTo>
                  <a:pt x="920229" y="685261"/>
                  <a:pt x="916214" y="689214"/>
                  <a:pt x="912019" y="692943"/>
                </a:cubicBezTo>
                <a:cubicBezTo>
                  <a:pt x="907589" y="696881"/>
                  <a:pt x="900471" y="701436"/>
                  <a:pt x="895350" y="704850"/>
                </a:cubicBezTo>
                <a:cubicBezTo>
                  <a:pt x="885135" y="725283"/>
                  <a:pt x="896907" y="705676"/>
                  <a:pt x="883444" y="719137"/>
                </a:cubicBezTo>
                <a:cubicBezTo>
                  <a:pt x="881420" y="721161"/>
                  <a:pt x="880513" y="724082"/>
                  <a:pt x="878681" y="726281"/>
                </a:cubicBezTo>
                <a:cubicBezTo>
                  <a:pt x="872950" y="733159"/>
                  <a:pt x="871421" y="733503"/>
                  <a:pt x="864394" y="738187"/>
                </a:cubicBezTo>
                <a:cubicBezTo>
                  <a:pt x="861692" y="742240"/>
                  <a:pt x="855438" y="751906"/>
                  <a:pt x="852488" y="754856"/>
                </a:cubicBezTo>
                <a:cubicBezTo>
                  <a:pt x="850464" y="756880"/>
                  <a:pt x="847725" y="758031"/>
                  <a:pt x="845344" y="759618"/>
                </a:cubicBezTo>
                <a:cubicBezTo>
                  <a:pt x="844550" y="762793"/>
                  <a:pt x="844778" y="766420"/>
                  <a:pt x="842963" y="769143"/>
                </a:cubicBezTo>
                <a:cubicBezTo>
                  <a:pt x="841375" y="771524"/>
                  <a:pt x="837239" y="771421"/>
                  <a:pt x="835819" y="773906"/>
                </a:cubicBezTo>
                <a:cubicBezTo>
                  <a:pt x="833811" y="777420"/>
                  <a:pt x="834859" y="782022"/>
                  <a:pt x="833438" y="785812"/>
                </a:cubicBezTo>
                <a:cubicBezTo>
                  <a:pt x="831449" y="791116"/>
                  <a:pt x="825237" y="796394"/>
                  <a:pt x="821531" y="800100"/>
                </a:cubicBezTo>
                <a:cubicBezTo>
                  <a:pt x="813613" y="815939"/>
                  <a:pt x="820444" y="803695"/>
                  <a:pt x="809625" y="819150"/>
                </a:cubicBezTo>
                <a:cubicBezTo>
                  <a:pt x="806343" y="823839"/>
                  <a:pt x="800100" y="833437"/>
                  <a:pt x="800100" y="833437"/>
                </a:cubicBezTo>
                <a:cubicBezTo>
                  <a:pt x="788779" y="867405"/>
                  <a:pt x="800157" y="832049"/>
                  <a:pt x="792956" y="857250"/>
                </a:cubicBezTo>
                <a:cubicBezTo>
                  <a:pt x="786134" y="881123"/>
                  <a:pt x="795625" y="844192"/>
                  <a:pt x="788194" y="873918"/>
                </a:cubicBezTo>
                <a:cubicBezTo>
                  <a:pt x="788988" y="885824"/>
                  <a:pt x="789326" y="897770"/>
                  <a:pt x="790575" y="909637"/>
                </a:cubicBezTo>
                <a:cubicBezTo>
                  <a:pt x="792285" y="925884"/>
                  <a:pt x="798619" y="916460"/>
                  <a:pt x="790575" y="940593"/>
                </a:cubicBezTo>
                <a:cubicBezTo>
                  <a:pt x="789510" y="943788"/>
                  <a:pt x="785499" y="945079"/>
                  <a:pt x="783431" y="947737"/>
                </a:cubicBezTo>
                <a:cubicBezTo>
                  <a:pt x="769744" y="965335"/>
                  <a:pt x="780801" y="960302"/>
                  <a:pt x="764381" y="964406"/>
                </a:cubicBezTo>
                <a:cubicBezTo>
                  <a:pt x="736531" y="982973"/>
                  <a:pt x="760556" y="968766"/>
                  <a:pt x="742950" y="976312"/>
                </a:cubicBezTo>
                <a:cubicBezTo>
                  <a:pt x="739687" y="977710"/>
                  <a:pt x="736793" y="979952"/>
                  <a:pt x="733425" y="981075"/>
                </a:cubicBezTo>
                <a:cubicBezTo>
                  <a:pt x="729585" y="982355"/>
                  <a:pt x="725470" y="982578"/>
                  <a:pt x="721519" y="983456"/>
                </a:cubicBezTo>
                <a:cubicBezTo>
                  <a:pt x="718324" y="984166"/>
                  <a:pt x="715169" y="985043"/>
                  <a:pt x="711994" y="985837"/>
                </a:cubicBezTo>
                <a:cubicBezTo>
                  <a:pt x="694412" y="984958"/>
                  <a:pt x="658798" y="983825"/>
                  <a:pt x="638175" y="981075"/>
                </a:cubicBezTo>
                <a:cubicBezTo>
                  <a:pt x="620435" y="978709"/>
                  <a:pt x="636188" y="979248"/>
                  <a:pt x="621506" y="976312"/>
                </a:cubicBezTo>
                <a:cubicBezTo>
                  <a:pt x="616003" y="975211"/>
                  <a:pt x="610385" y="974784"/>
                  <a:pt x="604838" y="973931"/>
                </a:cubicBezTo>
                <a:cubicBezTo>
                  <a:pt x="600066" y="973197"/>
                  <a:pt x="595313" y="972344"/>
                  <a:pt x="590550" y="971550"/>
                </a:cubicBezTo>
                <a:cubicBezTo>
                  <a:pt x="588169" y="970756"/>
                  <a:pt x="585820" y="969858"/>
                  <a:pt x="583406" y="969168"/>
                </a:cubicBezTo>
                <a:cubicBezTo>
                  <a:pt x="580259" y="968269"/>
                  <a:pt x="576889" y="968076"/>
                  <a:pt x="573881" y="966787"/>
                </a:cubicBezTo>
                <a:cubicBezTo>
                  <a:pt x="571251" y="965660"/>
                  <a:pt x="563959" y="965993"/>
                  <a:pt x="559594" y="957262"/>
                </a:cubicBezTo>
                <a:close/>
              </a:path>
            </a:pathLst>
          </a:custGeom>
          <a:solidFill>
            <a:srgbClr val="00B05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/>
          </a:p>
        </p:txBody>
      </p:sp>
      <p:sp>
        <p:nvSpPr>
          <p:cNvPr id="42" name="Freihandform 139">
            <a:extLst>
              <a:ext uri="{FF2B5EF4-FFF2-40B4-BE49-F238E27FC236}">
                <a16:creationId xmlns:a16="http://schemas.microsoft.com/office/drawing/2014/main" id="{1C9A5612-CA45-4B4D-BD80-252A09618EC6}"/>
              </a:ext>
            </a:extLst>
          </p:cNvPr>
          <p:cNvSpPr/>
          <p:nvPr/>
        </p:nvSpPr>
        <p:spPr>
          <a:xfrm>
            <a:off x="3845981" y="1473476"/>
            <a:ext cx="577411" cy="324053"/>
          </a:xfrm>
          <a:custGeom>
            <a:avLst/>
            <a:gdLst>
              <a:gd name="connsiteX0" fmla="*/ 445294 w 2055019"/>
              <a:gd name="connsiteY0" fmla="*/ 854869 h 1016794"/>
              <a:gd name="connsiteX1" fmla="*/ 457200 w 2055019"/>
              <a:gd name="connsiteY1" fmla="*/ 866775 h 1016794"/>
              <a:gd name="connsiteX2" fmla="*/ 464344 w 2055019"/>
              <a:gd name="connsiteY2" fmla="*/ 869157 h 1016794"/>
              <a:gd name="connsiteX3" fmla="*/ 483394 w 2055019"/>
              <a:gd name="connsiteY3" fmla="*/ 873919 h 1016794"/>
              <a:gd name="connsiteX4" fmla="*/ 500063 w 2055019"/>
              <a:gd name="connsiteY4" fmla="*/ 878682 h 1016794"/>
              <a:gd name="connsiteX5" fmla="*/ 542925 w 2055019"/>
              <a:gd name="connsiteY5" fmla="*/ 883444 h 1016794"/>
              <a:gd name="connsiteX6" fmla="*/ 559594 w 2055019"/>
              <a:gd name="connsiteY6" fmla="*/ 907257 h 1016794"/>
              <a:gd name="connsiteX7" fmla="*/ 566738 w 2055019"/>
              <a:gd name="connsiteY7" fmla="*/ 928688 h 1016794"/>
              <a:gd name="connsiteX8" fmla="*/ 564356 w 2055019"/>
              <a:gd name="connsiteY8" fmla="*/ 969169 h 1016794"/>
              <a:gd name="connsiteX9" fmla="*/ 559594 w 2055019"/>
              <a:gd name="connsiteY9" fmla="*/ 976313 h 1016794"/>
              <a:gd name="connsiteX10" fmla="*/ 545306 w 2055019"/>
              <a:gd name="connsiteY10" fmla="*/ 981075 h 1016794"/>
              <a:gd name="connsiteX11" fmla="*/ 523875 w 2055019"/>
              <a:gd name="connsiteY11" fmla="*/ 988219 h 1016794"/>
              <a:gd name="connsiteX12" fmla="*/ 481013 w 2055019"/>
              <a:gd name="connsiteY12" fmla="*/ 995363 h 1016794"/>
              <a:gd name="connsiteX13" fmla="*/ 338138 w 2055019"/>
              <a:gd name="connsiteY13" fmla="*/ 997744 h 1016794"/>
              <a:gd name="connsiteX14" fmla="*/ 316706 w 2055019"/>
              <a:gd name="connsiteY14" fmla="*/ 1002507 h 1016794"/>
              <a:gd name="connsiteX15" fmla="*/ 300038 w 2055019"/>
              <a:gd name="connsiteY15" fmla="*/ 1004888 h 1016794"/>
              <a:gd name="connsiteX16" fmla="*/ 292894 w 2055019"/>
              <a:gd name="connsiteY16" fmla="*/ 1007269 h 1016794"/>
              <a:gd name="connsiteX17" fmla="*/ 257175 w 2055019"/>
              <a:gd name="connsiteY17" fmla="*/ 1002507 h 1016794"/>
              <a:gd name="connsiteX18" fmla="*/ 250031 w 2055019"/>
              <a:gd name="connsiteY18" fmla="*/ 997744 h 1016794"/>
              <a:gd name="connsiteX19" fmla="*/ 242888 w 2055019"/>
              <a:gd name="connsiteY19" fmla="*/ 995363 h 1016794"/>
              <a:gd name="connsiteX20" fmla="*/ 240506 w 2055019"/>
              <a:gd name="connsiteY20" fmla="*/ 981075 h 1016794"/>
              <a:gd name="connsiteX21" fmla="*/ 238125 w 2055019"/>
              <a:gd name="connsiteY21" fmla="*/ 973932 h 1016794"/>
              <a:gd name="connsiteX22" fmla="*/ 242888 w 2055019"/>
              <a:gd name="connsiteY22" fmla="*/ 957263 h 1016794"/>
              <a:gd name="connsiteX23" fmla="*/ 247650 w 2055019"/>
              <a:gd name="connsiteY23" fmla="*/ 950119 h 1016794"/>
              <a:gd name="connsiteX24" fmla="*/ 259556 w 2055019"/>
              <a:gd name="connsiteY24" fmla="*/ 947738 h 1016794"/>
              <a:gd name="connsiteX25" fmla="*/ 266700 w 2055019"/>
              <a:gd name="connsiteY25" fmla="*/ 942975 h 1016794"/>
              <a:gd name="connsiteX26" fmla="*/ 273844 w 2055019"/>
              <a:gd name="connsiteY26" fmla="*/ 940594 h 1016794"/>
              <a:gd name="connsiteX27" fmla="*/ 280988 w 2055019"/>
              <a:gd name="connsiteY27" fmla="*/ 933450 h 1016794"/>
              <a:gd name="connsiteX28" fmla="*/ 288131 w 2055019"/>
              <a:gd name="connsiteY28" fmla="*/ 928688 h 1016794"/>
              <a:gd name="connsiteX29" fmla="*/ 290513 w 2055019"/>
              <a:gd name="connsiteY29" fmla="*/ 900113 h 1016794"/>
              <a:gd name="connsiteX30" fmla="*/ 288131 w 2055019"/>
              <a:gd name="connsiteY30" fmla="*/ 892969 h 1016794"/>
              <a:gd name="connsiteX31" fmla="*/ 280988 w 2055019"/>
              <a:gd name="connsiteY31" fmla="*/ 890588 h 1016794"/>
              <a:gd name="connsiteX32" fmla="*/ 266700 w 2055019"/>
              <a:gd name="connsiteY32" fmla="*/ 881063 h 1016794"/>
              <a:gd name="connsiteX33" fmla="*/ 252413 w 2055019"/>
              <a:gd name="connsiteY33" fmla="*/ 866775 h 1016794"/>
              <a:gd name="connsiteX34" fmla="*/ 238125 w 2055019"/>
              <a:gd name="connsiteY34" fmla="*/ 862013 h 1016794"/>
              <a:gd name="connsiteX35" fmla="*/ 230981 w 2055019"/>
              <a:gd name="connsiteY35" fmla="*/ 859632 h 1016794"/>
              <a:gd name="connsiteX36" fmla="*/ 219075 w 2055019"/>
              <a:gd name="connsiteY36" fmla="*/ 857250 h 1016794"/>
              <a:gd name="connsiteX37" fmla="*/ 183356 w 2055019"/>
              <a:gd name="connsiteY37" fmla="*/ 859632 h 1016794"/>
              <a:gd name="connsiteX38" fmla="*/ 176213 w 2055019"/>
              <a:gd name="connsiteY38" fmla="*/ 862013 h 1016794"/>
              <a:gd name="connsiteX39" fmla="*/ 166688 w 2055019"/>
              <a:gd name="connsiteY39" fmla="*/ 873919 h 1016794"/>
              <a:gd name="connsiteX40" fmla="*/ 157163 w 2055019"/>
              <a:gd name="connsiteY40" fmla="*/ 890588 h 1016794"/>
              <a:gd name="connsiteX41" fmla="*/ 152400 w 2055019"/>
              <a:gd name="connsiteY41" fmla="*/ 900113 h 1016794"/>
              <a:gd name="connsiteX42" fmla="*/ 145256 w 2055019"/>
              <a:gd name="connsiteY42" fmla="*/ 907257 h 1016794"/>
              <a:gd name="connsiteX43" fmla="*/ 138113 w 2055019"/>
              <a:gd name="connsiteY43" fmla="*/ 916782 h 1016794"/>
              <a:gd name="connsiteX44" fmla="*/ 130969 w 2055019"/>
              <a:gd name="connsiteY44" fmla="*/ 919163 h 1016794"/>
              <a:gd name="connsiteX45" fmla="*/ 109538 w 2055019"/>
              <a:gd name="connsiteY45" fmla="*/ 926307 h 1016794"/>
              <a:gd name="connsiteX46" fmla="*/ 97631 w 2055019"/>
              <a:gd name="connsiteY46" fmla="*/ 921544 h 1016794"/>
              <a:gd name="connsiteX47" fmla="*/ 95250 w 2055019"/>
              <a:gd name="connsiteY47" fmla="*/ 912019 h 1016794"/>
              <a:gd name="connsiteX48" fmla="*/ 90488 w 2055019"/>
              <a:gd name="connsiteY48" fmla="*/ 904875 h 1016794"/>
              <a:gd name="connsiteX49" fmla="*/ 85725 w 2055019"/>
              <a:gd name="connsiteY49" fmla="*/ 890588 h 1016794"/>
              <a:gd name="connsiteX50" fmla="*/ 88106 w 2055019"/>
              <a:gd name="connsiteY50" fmla="*/ 862013 h 1016794"/>
              <a:gd name="connsiteX51" fmla="*/ 92869 w 2055019"/>
              <a:gd name="connsiteY51" fmla="*/ 847725 h 1016794"/>
              <a:gd name="connsiteX52" fmla="*/ 95250 w 2055019"/>
              <a:gd name="connsiteY52" fmla="*/ 840582 h 1016794"/>
              <a:gd name="connsiteX53" fmla="*/ 92869 w 2055019"/>
              <a:gd name="connsiteY53" fmla="*/ 826294 h 1016794"/>
              <a:gd name="connsiteX54" fmla="*/ 76200 w 2055019"/>
              <a:gd name="connsiteY54" fmla="*/ 819150 h 1016794"/>
              <a:gd name="connsiteX55" fmla="*/ 21431 w 2055019"/>
              <a:gd name="connsiteY55" fmla="*/ 816769 h 1016794"/>
              <a:gd name="connsiteX56" fmla="*/ 16669 w 2055019"/>
              <a:gd name="connsiteY56" fmla="*/ 807244 h 1016794"/>
              <a:gd name="connsiteX57" fmla="*/ 7144 w 2055019"/>
              <a:gd name="connsiteY57" fmla="*/ 797719 h 1016794"/>
              <a:gd name="connsiteX58" fmla="*/ 0 w 2055019"/>
              <a:gd name="connsiteY58" fmla="*/ 773907 h 1016794"/>
              <a:gd name="connsiteX59" fmla="*/ 2381 w 2055019"/>
              <a:gd name="connsiteY59" fmla="*/ 759619 h 1016794"/>
              <a:gd name="connsiteX60" fmla="*/ 14288 w 2055019"/>
              <a:gd name="connsiteY60" fmla="*/ 745332 h 1016794"/>
              <a:gd name="connsiteX61" fmla="*/ 23813 w 2055019"/>
              <a:gd name="connsiteY61" fmla="*/ 728663 h 1016794"/>
              <a:gd name="connsiteX62" fmla="*/ 30956 w 2055019"/>
              <a:gd name="connsiteY62" fmla="*/ 726282 h 1016794"/>
              <a:gd name="connsiteX63" fmla="*/ 38100 w 2055019"/>
              <a:gd name="connsiteY63" fmla="*/ 719138 h 1016794"/>
              <a:gd name="connsiteX64" fmla="*/ 42863 w 2055019"/>
              <a:gd name="connsiteY64" fmla="*/ 702469 h 1016794"/>
              <a:gd name="connsiteX65" fmla="*/ 40481 w 2055019"/>
              <a:gd name="connsiteY65" fmla="*/ 678657 h 1016794"/>
              <a:gd name="connsiteX66" fmla="*/ 35719 w 2055019"/>
              <a:gd name="connsiteY66" fmla="*/ 664369 h 1016794"/>
              <a:gd name="connsiteX67" fmla="*/ 38100 w 2055019"/>
              <a:gd name="connsiteY67" fmla="*/ 654844 h 1016794"/>
              <a:gd name="connsiteX68" fmla="*/ 85725 w 2055019"/>
              <a:gd name="connsiteY68" fmla="*/ 647700 h 1016794"/>
              <a:gd name="connsiteX69" fmla="*/ 83344 w 2055019"/>
              <a:gd name="connsiteY69" fmla="*/ 616744 h 1016794"/>
              <a:gd name="connsiteX70" fmla="*/ 78581 w 2055019"/>
              <a:gd name="connsiteY70" fmla="*/ 609600 h 1016794"/>
              <a:gd name="connsiteX71" fmla="*/ 76200 w 2055019"/>
              <a:gd name="connsiteY71" fmla="*/ 600075 h 1016794"/>
              <a:gd name="connsiteX72" fmla="*/ 78581 w 2055019"/>
              <a:gd name="connsiteY72" fmla="*/ 545307 h 1016794"/>
              <a:gd name="connsiteX73" fmla="*/ 88106 w 2055019"/>
              <a:gd name="connsiteY73" fmla="*/ 531019 h 1016794"/>
              <a:gd name="connsiteX74" fmla="*/ 109538 w 2055019"/>
              <a:gd name="connsiteY74" fmla="*/ 519113 h 1016794"/>
              <a:gd name="connsiteX75" fmla="*/ 116681 w 2055019"/>
              <a:gd name="connsiteY75" fmla="*/ 514350 h 1016794"/>
              <a:gd name="connsiteX76" fmla="*/ 126206 w 2055019"/>
              <a:gd name="connsiteY76" fmla="*/ 504825 h 1016794"/>
              <a:gd name="connsiteX77" fmla="*/ 138113 w 2055019"/>
              <a:gd name="connsiteY77" fmla="*/ 490538 h 1016794"/>
              <a:gd name="connsiteX78" fmla="*/ 145256 w 2055019"/>
              <a:gd name="connsiteY78" fmla="*/ 488157 h 1016794"/>
              <a:gd name="connsiteX79" fmla="*/ 161925 w 2055019"/>
              <a:gd name="connsiteY79" fmla="*/ 481013 h 1016794"/>
              <a:gd name="connsiteX80" fmla="*/ 180975 w 2055019"/>
              <a:gd name="connsiteY80" fmla="*/ 476250 h 1016794"/>
              <a:gd name="connsiteX81" fmla="*/ 185738 w 2055019"/>
              <a:gd name="connsiteY81" fmla="*/ 469107 h 1016794"/>
              <a:gd name="connsiteX82" fmla="*/ 190500 w 2055019"/>
              <a:gd name="connsiteY82" fmla="*/ 435769 h 1016794"/>
              <a:gd name="connsiteX83" fmla="*/ 195263 w 2055019"/>
              <a:gd name="connsiteY83" fmla="*/ 421482 h 1016794"/>
              <a:gd name="connsiteX84" fmla="*/ 197644 w 2055019"/>
              <a:gd name="connsiteY84" fmla="*/ 414338 h 1016794"/>
              <a:gd name="connsiteX85" fmla="*/ 204788 w 2055019"/>
              <a:gd name="connsiteY85" fmla="*/ 400050 h 1016794"/>
              <a:gd name="connsiteX86" fmla="*/ 211931 w 2055019"/>
              <a:gd name="connsiteY86" fmla="*/ 395288 h 1016794"/>
              <a:gd name="connsiteX87" fmla="*/ 214313 w 2055019"/>
              <a:gd name="connsiteY87" fmla="*/ 388144 h 1016794"/>
              <a:gd name="connsiteX88" fmla="*/ 221456 w 2055019"/>
              <a:gd name="connsiteY88" fmla="*/ 383382 h 1016794"/>
              <a:gd name="connsiteX89" fmla="*/ 230981 w 2055019"/>
              <a:gd name="connsiteY89" fmla="*/ 376238 h 1016794"/>
              <a:gd name="connsiteX90" fmla="*/ 235744 w 2055019"/>
              <a:gd name="connsiteY90" fmla="*/ 369094 h 1016794"/>
              <a:gd name="connsiteX91" fmla="*/ 261938 w 2055019"/>
              <a:gd name="connsiteY91" fmla="*/ 361950 h 1016794"/>
              <a:gd name="connsiteX92" fmla="*/ 276225 w 2055019"/>
              <a:gd name="connsiteY92" fmla="*/ 354807 h 1016794"/>
              <a:gd name="connsiteX93" fmla="*/ 302419 w 2055019"/>
              <a:gd name="connsiteY93" fmla="*/ 350044 h 1016794"/>
              <a:gd name="connsiteX94" fmla="*/ 319088 w 2055019"/>
              <a:gd name="connsiteY94" fmla="*/ 345282 h 1016794"/>
              <a:gd name="connsiteX95" fmla="*/ 326231 w 2055019"/>
              <a:gd name="connsiteY95" fmla="*/ 342900 h 1016794"/>
              <a:gd name="connsiteX96" fmla="*/ 338138 w 2055019"/>
              <a:gd name="connsiteY96" fmla="*/ 340519 h 1016794"/>
              <a:gd name="connsiteX97" fmla="*/ 357188 w 2055019"/>
              <a:gd name="connsiteY97" fmla="*/ 335757 h 1016794"/>
              <a:gd name="connsiteX98" fmla="*/ 364331 w 2055019"/>
              <a:gd name="connsiteY98" fmla="*/ 333375 h 1016794"/>
              <a:gd name="connsiteX99" fmla="*/ 431006 w 2055019"/>
              <a:gd name="connsiteY99" fmla="*/ 328613 h 1016794"/>
              <a:gd name="connsiteX100" fmla="*/ 447675 w 2055019"/>
              <a:gd name="connsiteY100" fmla="*/ 323850 h 1016794"/>
              <a:gd name="connsiteX101" fmla="*/ 450056 w 2055019"/>
              <a:gd name="connsiteY101" fmla="*/ 316707 h 1016794"/>
              <a:gd name="connsiteX102" fmla="*/ 440531 w 2055019"/>
              <a:gd name="connsiteY102" fmla="*/ 300038 h 1016794"/>
              <a:gd name="connsiteX103" fmla="*/ 433388 w 2055019"/>
              <a:gd name="connsiteY103" fmla="*/ 297657 h 1016794"/>
              <a:gd name="connsiteX104" fmla="*/ 428625 w 2055019"/>
              <a:gd name="connsiteY104" fmla="*/ 290513 h 1016794"/>
              <a:gd name="connsiteX105" fmla="*/ 421481 w 2055019"/>
              <a:gd name="connsiteY105" fmla="*/ 285750 h 1016794"/>
              <a:gd name="connsiteX106" fmla="*/ 414338 w 2055019"/>
              <a:gd name="connsiteY106" fmla="*/ 278607 h 1016794"/>
              <a:gd name="connsiteX107" fmla="*/ 428625 w 2055019"/>
              <a:gd name="connsiteY107" fmla="*/ 250032 h 1016794"/>
              <a:gd name="connsiteX108" fmla="*/ 438150 w 2055019"/>
              <a:gd name="connsiteY108" fmla="*/ 247650 h 1016794"/>
              <a:gd name="connsiteX109" fmla="*/ 500063 w 2055019"/>
              <a:gd name="connsiteY109" fmla="*/ 247650 h 1016794"/>
              <a:gd name="connsiteX110" fmla="*/ 504825 w 2055019"/>
              <a:gd name="connsiteY110" fmla="*/ 240507 h 1016794"/>
              <a:gd name="connsiteX111" fmla="*/ 495300 w 2055019"/>
              <a:gd name="connsiteY111" fmla="*/ 219075 h 1016794"/>
              <a:gd name="connsiteX112" fmla="*/ 488156 w 2055019"/>
              <a:gd name="connsiteY112" fmla="*/ 214313 h 1016794"/>
              <a:gd name="connsiteX113" fmla="*/ 483394 w 2055019"/>
              <a:gd name="connsiteY113" fmla="*/ 207169 h 1016794"/>
              <a:gd name="connsiteX114" fmla="*/ 459581 w 2055019"/>
              <a:gd name="connsiteY114" fmla="*/ 200025 h 1016794"/>
              <a:gd name="connsiteX115" fmla="*/ 445294 w 2055019"/>
              <a:gd name="connsiteY115" fmla="*/ 195263 h 1016794"/>
              <a:gd name="connsiteX116" fmla="*/ 438150 w 2055019"/>
              <a:gd name="connsiteY116" fmla="*/ 192882 h 1016794"/>
              <a:gd name="connsiteX117" fmla="*/ 423863 w 2055019"/>
              <a:gd name="connsiteY117" fmla="*/ 183357 h 1016794"/>
              <a:gd name="connsiteX118" fmla="*/ 409575 w 2055019"/>
              <a:gd name="connsiteY118" fmla="*/ 178594 h 1016794"/>
              <a:gd name="connsiteX119" fmla="*/ 407194 w 2055019"/>
              <a:gd name="connsiteY119" fmla="*/ 171450 h 1016794"/>
              <a:gd name="connsiteX120" fmla="*/ 416719 w 2055019"/>
              <a:gd name="connsiteY120" fmla="*/ 152400 h 1016794"/>
              <a:gd name="connsiteX121" fmla="*/ 423863 w 2055019"/>
              <a:gd name="connsiteY121" fmla="*/ 147638 h 1016794"/>
              <a:gd name="connsiteX122" fmla="*/ 431006 w 2055019"/>
              <a:gd name="connsiteY122" fmla="*/ 140494 h 1016794"/>
              <a:gd name="connsiteX123" fmla="*/ 440531 w 2055019"/>
              <a:gd name="connsiteY123" fmla="*/ 135732 h 1016794"/>
              <a:gd name="connsiteX124" fmla="*/ 454819 w 2055019"/>
              <a:gd name="connsiteY124" fmla="*/ 130969 h 1016794"/>
              <a:gd name="connsiteX125" fmla="*/ 497681 w 2055019"/>
              <a:gd name="connsiteY125" fmla="*/ 133350 h 1016794"/>
              <a:gd name="connsiteX126" fmla="*/ 519113 w 2055019"/>
              <a:gd name="connsiteY126" fmla="*/ 138113 h 1016794"/>
              <a:gd name="connsiteX127" fmla="*/ 538163 w 2055019"/>
              <a:gd name="connsiteY127" fmla="*/ 142875 h 1016794"/>
              <a:gd name="connsiteX128" fmla="*/ 561975 w 2055019"/>
              <a:gd name="connsiteY128" fmla="*/ 140494 h 1016794"/>
              <a:gd name="connsiteX129" fmla="*/ 569119 w 2055019"/>
              <a:gd name="connsiteY129" fmla="*/ 133350 h 1016794"/>
              <a:gd name="connsiteX130" fmla="*/ 576263 w 2055019"/>
              <a:gd name="connsiteY130" fmla="*/ 107157 h 1016794"/>
              <a:gd name="connsiteX131" fmla="*/ 578644 w 2055019"/>
              <a:gd name="connsiteY131" fmla="*/ 90488 h 1016794"/>
              <a:gd name="connsiteX132" fmla="*/ 588169 w 2055019"/>
              <a:gd name="connsiteY132" fmla="*/ 76200 h 1016794"/>
              <a:gd name="connsiteX133" fmla="*/ 592931 w 2055019"/>
              <a:gd name="connsiteY133" fmla="*/ 69057 h 1016794"/>
              <a:gd name="connsiteX134" fmla="*/ 628650 w 2055019"/>
              <a:gd name="connsiteY134" fmla="*/ 71438 h 1016794"/>
              <a:gd name="connsiteX135" fmla="*/ 638175 w 2055019"/>
              <a:gd name="connsiteY135" fmla="*/ 85725 h 1016794"/>
              <a:gd name="connsiteX136" fmla="*/ 645319 w 2055019"/>
              <a:gd name="connsiteY136" fmla="*/ 88107 h 1016794"/>
              <a:gd name="connsiteX137" fmla="*/ 716756 w 2055019"/>
              <a:gd name="connsiteY137" fmla="*/ 85725 h 1016794"/>
              <a:gd name="connsiteX138" fmla="*/ 738188 w 2055019"/>
              <a:gd name="connsiteY138" fmla="*/ 78582 h 1016794"/>
              <a:gd name="connsiteX139" fmla="*/ 745331 w 2055019"/>
              <a:gd name="connsiteY139" fmla="*/ 73819 h 1016794"/>
              <a:gd name="connsiteX140" fmla="*/ 771525 w 2055019"/>
              <a:gd name="connsiteY140" fmla="*/ 66675 h 1016794"/>
              <a:gd name="connsiteX141" fmla="*/ 778669 w 2055019"/>
              <a:gd name="connsiteY141" fmla="*/ 61913 h 1016794"/>
              <a:gd name="connsiteX142" fmla="*/ 788194 w 2055019"/>
              <a:gd name="connsiteY142" fmla="*/ 59532 h 1016794"/>
              <a:gd name="connsiteX143" fmla="*/ 795338 w 2055019"/>
              <a:gd name="connsiteY143" fmla="*/ 57150 h 1016794"/>
              <a:gd name="connsiteX144" fmla="*/ 804863 w 2055019"/>
              <a:gd name="connsiteY144" fmla="*/ 54769 h 1016794"/>
              <a:gd name="connsiteX145" fmla="*/ 816769 w 2055019"/>
              <a:gd name="connsiteY145" fmla="*/ 50007 h 1016794"/>
              <a:gd name="connsiteX146" fmla="*/ 831056 w 2055019"/>
              <a:gd name="connsiteY146" fmla="*/ 42863 h 1016794"/>
              <a:gd name="connsiteX147" fmla="*/ 842963 w 2055019"/>
              <a:gd name="connsiteY147" fmla="*/ 40482 h 1016794"/>
              <a:gd name="connsiteX148" fmla="*/ 850106 w 2055019"/>
              <a:gd name="connsiteY148" fmla="*/ 38100 h 1016794"/>
              <a:gd name="connsiteX149" fmla="*/ 878681 w 2055019"/>
              <a:gd name="connsiteY149" fmla="*/ 30957 h 1016794"/>
              <a:gd name="connsiteX150" fmla="*/ 888206 w 2055019"/>
              <a:gd name="connsiteY150" fmla="*/ 28575 h 1016794"/>
              <a:gd name="connsiteX151" fmla="*/ 895350 w 2055019"/>
              <a:gd name="connsiteY151" fmla="*/ 26194 h 1016794"/>
              <a:gd name="connsiteX152" fmla="*/ 916781 w 2055019"/>
              <a:gd name="connsiteY152" fmla="*/ 21432 h 1016794"/>
              <a:gd name="connsiteX153" fmla="*/ 931069 w 2055019"/>
              <a:gd name="connsiteY153" fmla="*/ 14288 h 1016794"/>
              <a:gd name="connsiteX154" fmla="*/ 942975 w 2055019"/>
              <a:gd name="connsiteY154" fmla="*/ 9525 h 1016794"/>
              <a:gd name="connsiteX155" fmla="*/ 959644 w 2055019"/>
              <a:gd name="connsiteY155" fmla="*/ 7144 h 1016794"/>
              <a:gd name="connsiteX156" fmla="*/ 1021556 w 2055019"/>
              <a:gd name="connsiteY156" fmla="*/ 0 h 1016794"/>
              <a:gd name="connsiteX157" fmla="*/ 1035844 w 2055019"/>
              <a:gd name="connsiteY157" fmla="*/ 2382 h 1016794"/>
              <a:gd name="connsiteX158" fmla="*/ 1033463 w 2055019"/>
              <a:gd name="connsiteY158" fmla="*/ 28575 h 1016794"/>
              <a:gd name="connsiteX159" fmla="*/ 1021556 w 2055019"/>
              <a:gd name="connsiteY159" fmla="*/ 59532 h 1016794"/>
              <a:gd name="connsiteX160" fmla="*/ 1014413 w 2055019"/>
              <a:gd name="connsiteY160" fmla="*/ 66675 h 1016794"/>
              <a:gd name="connsiteX161" fmla="*/ 1007269 w 2055019"/>
              <a:gd name="connsiteY161" fmla="*/ 69057 h 1016794"/>
              <a:gd name="connsiteX162" fmla="*/ 976313 w 2055019"/>
              <a:gd name="connsiteY162" fmla="*/ 88107 h 1016794"/>
              <a:gd name="connsiteX163" fmla="*/ 964406 w 2055019"/>
              <a:gd name="connsiteY163" fmla="*/ 90488 h 1016794"/>
              <a:gd name="connsiteX164" fmla="*/ 954881 w 2055019"/>
              <a:gd name="connsiteY164" fmla="*/ 92869 h 1016794"/>
              <a:gd name="connsiteX165" fmla="*/ 947738 w 2055019"/>
              <a:gd name="connsiteY165" fmla="*/ 97632 h 1016794"/>
              <a:gd name="connsiteX166" fmla="*/ 950119 w 2055019"/>
              <a:gd name="connsiteY166" fmla="*/ 123825 h 1016794"/>
              <a:gd name="connsiteX167" fmla="*/ 976313 w 2055019"/>
              <a:gd name="connsiteY167" fmla="*/ 135732 h 1016794"/>
              <a:gd name="connsiteX168" fmla="*/ 983456 w 2055019"/>
              <a:gd name="connsiteY168" fmla="*/ 138113 h 1016794"/>
              <a:gd name="connsiteX169" fmla="*/ 1035844 w 2055019"/>
              <a:gd name="connsiteY169" fmla="*/ 135732 h 1016794"/>
              <a:gd name="connsiteX170" fmla="*/ 1042988 w 2055019"/>
              <a:gd name="connsiteY170" fmla="*/ 128588 h 1016794"/>
              <a:gd name="connsiteX171" fmla="*/ 1047750 w 2055019"/>
              <a:gd name="connsiteY171" fmla="*/ 121444 h 1016794"/>
              <a:gd name="connsiteX172" fmla="*/ 1054894 w 2055019"/>
              <a:gd name="connsiteY172" fmla="*/ 107157 h 1016794"/>
              <a:gd name="connsiteX173" fmla="*/ 1062038 w 2055019"/>
              <a:gd name="connsiteY173" fmla="*/ 104775 h 1016794"/>
              <a:gd name="connsiteX174" fmla="*/ 1076325 w 2055019"/>
              <a:gd name="connsiteY174" fmla="*/ 107157 h 1016794"/>
              <a:gd name="connsiteX175" fmla="*/ 1095375 w 2055019"/>
              <a:gd name="connsiteY175" fmla="*/ 116682 h 1016794"/>
              <a:gd name="connsiteX176" fmla="*/ 1102519 w 2055019"/>
              <a:gd name="connsiteY176" fmla="*/ 119063 h 1016794"/>
              <a:gd name="connsiteX177" fmla="*/ 1119188 w 2055019"/>
              <a:gd name="connsiteY177" fmla="*/ 130969 h 1016794"/>
              <a:gd name="connsiteX178" fmla="*/ 1138238 w 2055019"/>
              <a:gd name="connsiteY178" fmla="*/ 140494 h 1016794"/>
              <a:gd name="connsiteX179" fmla="*/ 1185863 w 2055019"/>
              <a:gd name="connsiteY179" fmla="*/ 126207 h 1016794"/>
              <a:gd name="connsiteX180" fmla="*/ 1188244 w 2055019"/>
              <a:gd name="connsiteY180" fmla="*/ 114300 h 1016794"/>
              <a:gd name="connsiteX181" fmla="*/ 1183481 w 2055019"/>
              <a:gd name="connsiteY181" fmla="*/ 71438 h 1016794"/>
              <a:gd name="connsiteX182" fmla="*/ 1181100 w 2055019"/>
              <a:gd name="connsiteY182" fmla="*/ 61913 h 1016794"/>
              <a:gd name="connsiteX183" fmla="*/ 1178719 w 2055019"/>
              <a:gd name="connsiteY183" fmla="*/ 50007 h 1016794"/>
              <a:gd name="connsiteX184" fmla="*/ 1181100 w 2055019"/>
              <a:gd name="connsiteY184" fmla="*/ 40482 h 1016794"/>
              <a:gd name="connsiteX185" fmla="*/ 1188244 w 2055019"/>
              <a:gd name="connsiteY185" fmla="*/ 38100 h 1016794"/>
              <a:gd name="connsiteX186" fmla="*/ 1223963 w 2055019"/>
              <a:gd name="connsiteY186" fmla="*/ 40482 h 1016794"/>
              <a:gd name="connsiteX187" fmla="*/ 1233488 w 2055019"/>
              <a:gd name="connsiteY187" fmla="*/ 42863 h 1016794"/>
              <a:gd name="connsiteX188" fmla="*/ 1254919 w 2055019"/>
              <a:gd name="connsiteY188" fmla="*/ 45244 h 1016794"/>
              <a:gd name="connsiteX189" fmla="*/ 1257300 w 2055019"/>
              <a:gd name="connsiteY189" fmla="*/ 52388 h 1016794"/>
              <a:gd name="connsiteX190" fmla="*/ 1259681 w 2055019"/>
              <a:gd name="connsiteY190" fmla="*/ 66675 h 1016794"/>
              <a:gd name="connsiteX191" fmla="*/ 1262063 w 2055019"/>
              <a:gd name="connsiteY191" fmla="*/ 78582 h 1016794"/>
              <a:gd name="connsiteX192" fmla="*/ 1276350 w 2055019"/>
              <a:gd name="connsiteY192" fmla="*/ 85725 h 1016794"/>
              <a:gd name="connsiteX193" fmla="*/ 1304925 w 2055019"/>
              <a:gd name="connsiteY193" fmla="*/ 83344 h 1016794"/>
              <a:gd name="connsiteX194" fmla="*/ 1314450 w 2055019"/>
              <a:gd name="connsiteY194" fmla="*/ 80963 h 1016794"/>
              <a:gd name="connsiteX195" fmla="*/ 1335881 w 2055019"/>
              <a:gd name="connsiteY195" fmla="*/ 83344 h 1016794"/>
              <a:gd name="connsiteX196" fmla="*/ 1354931 w 2055019"/>
              <a:gd name="connsiteY196" fmla="*/ 88107 h 1016794"/>
              <a:gd name="connsiteX197" fmla="*/ 1373981 w 2055019"/>
              <a:gd name="connsiteY197" fmla="*/ 102394 h 1016794"/>
              <a:gd name="connsiteX198" fmla="*/ 1378744 w 2055019"/>
              <a:gd name="connsiteY198" fmla="*/ 116682 h 1016794"/>
              <a:gd name="connsiteX199" fmla="*/ 1376363 w 2055019"/>
              <a:gd name="connsiteY199" fmla="*/ 128588 h 1016794"/>
              <a:gd name="connsiteX200" fmla="*/ 1371600 w 2055019"/>
              <a:gd name="connsiteY200" fmla="*/ 135732 h 1016794"/>
              <a:gd name="connsiteX201" fmla="*/ 1357313 w 2055019"/>
              <a:gd name="connsiteY201" fmla="*/ 159544 h 1016794"/>
              <a:gd name="connsiteX202" fmla="*/ 1347788 w 2055019"/>
              <a:gd name="connsiteY202" fmla="*/ 169069 h 1016794"/>
              <a:gd name="connsiteX203" fmla="*/ 1333500 w 2055019"/>
              <a:gd name="connsiteY203" fmla="*/ 178594 h 1016794"/>
              <a:gd name="connsiteX204" fmla="*/ 1326356 w 2055019"/>
              <a:gd name="connsiteY204" fmla="*/ 192882 h 1016794"/>
              <a:gd name="connsiteX205" fmla="*/ 1333500 w 2055019"/>
              <a:gd name="connsiteY205" fmla="*/ 214313 h 1016794"/>
              <a:gd name="connsiteX206" fmla="*/ 1340644 w 2055019"/>
              <a:gd name="connsiteY206" fmla="*/ 216694 h 1016794"/>
              <a:gd name="connsiteX207" fmla="*/ 1350169 w 2055019"/>
              <a:gd name="connsiteY207" fmla="*/ 221457 h 1016794"/>
              <a:gd name="connsiteX208" fmla="*/ 1357313 w 2055019"/>
              <a:gd name="connsiteY208" fmla="*/ 226219 h 1016794"/>
              <a:gd name="connsiteX209" fmla="*/ 1369219 w 2055019"/>
              <a:gd name="connsiteY209" fmla="*/ 228600 h 1016794"/>
              <a:gd name="connsiteX210" fmla="*/ 1400175 w 2055019"/>
              <a:gd name="connsiteY210" fmla="*/ 233363 h 1016794"/>
              <a:gd name="connsiteX211" fmla="*/ 1407319 w 2055019"/>
              <a:gd name="connsiteY211" fmla="*/ 235744 h 1016794"/>
              <a:gd name="connsiteX212" fmla="*/ 1416844 w 2055019"/>
              <a:gd name="connsiteY212" fmla="*/ 238125 h 1016794"/>
              <a:gd name="connsiteX213" fmla="*/ 1423988 w 2055019"/>
              <a:gd name="connsiteY213" fmla="*/ 242888 h 1016794"/>
              <a:gd name="connsiteX214" fmla="*/ 1438275 w 2055019"/>
              <a:gd name="connsiteY214" fmla="*/ 257175 h 1016794"/>
              <a:gd name="connsiteX215" fmla="*/ 1447800 w 2055019"/>
              <a:gd name="connsiteY215" fmla="*/ 288132 h 1016794"/>
              <a:gd name="connsiteX216" fmla="*/ 1452563 w 2055019"/>
              <a:gd name="connsiteY216" fmla="*/ 302419 h 1016794"/>
              <a:gd name="connsiteX217" fmla="*/ 1504950 w 2055019"/>
              <a:gd name="connsiteY217" fmla="*/ 309563 h 1016794"/>
              <a:gd name="connsiteX218" fmla="*/ 1543050 w 2055019"/>
              <a:gd name="connsiteY218" fmla="*/ 307182 h 1016794"/>
              <a:gd name="connsiteX219" fmla="*/ 1552575 w 2055019"/>
              <a:gd name="connsiteY219" fmla="*/ 304800 h 1016794"/>
              <a:gd name="connsiteX220" fmla="*/ 1566863 w 2055019"/>
              <a:gd name="connsiteY220" fmla="*/ 300038 h 1016794"/>
              <a:gd name="connsiteX221" fmla="*/ 1664494 w 2055019"/>
              <a:gd name="connsiteY221" fmla="*/ 304800 h 1016794"/>
              <a:gd name="connsiteX222" fmla="*/ 1671638 w 2055019"/>
              <a:gd name="connsiteY222" fmla="*/ 307182 h 1016794"/>
              <a:gd name="connsiteX223" fmla="*/ 1690688 w 2055019"/>
              <a:gd name="connsiteY223" fmla="*/ 319088 h 1016794"/>
              <a:gd name="connsiteX224" fmla="*/ 1695450 w 2055019"/>
              <a:gd name="connsiteY224" fmla="*/ 326232 h 1016794"/>
              <a:gd name="connsiteX225" fmla="*/ 1702594 w 2055019"/>
              <a:gd name="connsiteY225" fmla="*/ 340519 h 1016794"/>
              <a:gd name="connsiteX226" fmla="*/ 1709738 w 2055019"/>
              <a:gd name="connsiteY226" fmla="*/ 345282 h 1016794"/>
              <a:gd name="connsiteX227" fmla="*/ 1716881 w 2055019"/>
              <a:gd name="connsiteY227" fmla="*/ 359569 h 1016794"/>
              <a:gd name="connsiteX228" fmla="*/ 1721644 w 2055019"/>
              <a:gd name="connsiteY228" fmla="*/ 373857 h 1016794"/>
              <a:gd name="connsiteX229" fmla="*/ 1726406 w 2055019"/>
              <a:gd name="connsiteY229" fmla="*/ 390525 h 1016794"/>
              <a:gd name="connsiteX230" fmla="*/ 1719263 w 2055019"/>
              <a:gd name="connsiteY230" fmla="*/ 442913 h 1016794"/>
              <a:gd name="connsiteX231" fmla="*/ 1712119 w 2055019"/>
              <a:gd name="connsiteY231" fmla="*/ 452438 h 1016794"/>
              <a:gd name="connsiteX232" fmla="*/ 1702594 w 2055019"/>
              <a:gd name="connsiteY232" fmla="*/ 459582 h 1016794"/>
              <a:gd name="connsiteX233" fmla="*/ 1685925 w 2055019"/>
              <a:gd name="connsiteY233" fmla="*/ 471488 h 1016794"/>
              <a:gd name="connsiteX234" fmla="*/ 1676400 w 2055019"/>
              <a:gd name="connsiteY234" fmla="*/ 478632 h 1016794"/>
              <a:gd name="connsiteX235" fmla="*/ 1657350 w 2055019"/>
              <a:gd name="connsiteY235" fmla="*/ 483394 h 1016794"/>
              <a:gd name="connsiteX236" fmla="*/ 1643063 w 2055019"/>
              <a:gd name="connsiteY236" fmla="*/ 492919 h 1016794"/>
              <a:gd name="connsiteX237" fmla="*/ 1635919 w 2055019"/>
              <a:gd name="connsiteY237" fmla="*/ 495300 h 1016794"/>
              <a:gd name="connsiteX238" fmla="*/ 1585913 w 2055019"/>
              <a:gd name="connsiteY238" fmla="*/ 500063 h 1016794"/>
              <a:gd name="connsiteX239" fmla="*/ 1566863 w 2055019"/>
              <a:gd name="connsiteY239" fmla="*/ 502444 h 1016794"/>
              <a:gd name="connsiteX240" fmla="*/ 1545431 w 2055019"/>
              <a:gd name="connsiteY240" fmla="*/ 509588 h 1016794"/>
              <a:gd name="connsiteX241" fmla="*/ 1538288 w 2055019"/>
              <a:gd name="connsiteY241" fmla="*/ 511969 h 1016794"/>
              <a:gd name="connsiteX242" fmla="*/ 1521619 w 2055019"/>
              <a:gd name="connsiteY242" fmla="*/ 514350 h 1016794"/>
              <a:gd name="connsiteX243" fmla="*/ 1509713 w 2055019"/>
              <a:gd name="connsiteY243" fmla="*/ 526257 h 1016794"/>
              <a:gd name="connsiteX244" fmla="*/ 1504950 w 2055019"/>
              <a:gd name="connsiteY244" fmla="*/ 540544 h 1016794"/>
              <a:gd name="connsiteX245" fmla="*/ 1509713 w 2055019"/>
              <a:gd name="connsiteY245" fmla="*/ 573882 h 1016794"/>
              <a:gd name="connsiteX246" fmla="*/ 1514475 w 2055019"/>
              <a:gd name="connsiteY246" fmla="*/ 581025 h 1016794"/>
              <a:gd name="connsiteX247" fmla="*/ 1524000 w 2055019"/>
              <a:gd name="connsiteY247" fmla="*/ 590550 h 1016794"/>
              <a:gd name="connsiteX248" fmla="*/ 1531144 w 2055019"/>
              <a:gd name="connsiteY248" fmla="*/ 595313 h 1016794"/>
              <a:gd name="connsiteX249" fmla="*/ 1554956 w 2055019"/>
              <a:gd name="connsiteY249" fmla="*/ 604838 h 1016794"/>
              <a:gd name="connsiteX250" fmla="*/ 1602581 w 2055019"/>
              <a:gd name="connsiteY250" fmla="*/ 602457 h 1016794"/>
              <a:gd name="connsiteX251" fmla="*/ 1624013 w 2055019"/>
              <a:gd name="connsiteY251" fmla="*/ 595313 h 1016794"/>
              <a:gd name="connsiteX252" fmla="*/ 1635919 w 2055019"/>
              <a:gd name="connsiteY252" fmla="*/ 592932 h 1016794"/>
              <a:gd name="connsiteX253" fmla="*/ 1645444 w 2055019"/>
              <a:gd name="connsiteY253" fmla="*/ 590550 h 1016794"/>
              <a:gd name="connsiteX254" fmla="*/ 1659731 w 2055019"/>
              <a:gd name="connsiteY254" fmla="*/ 576263 h 1016794"/>
              <a:gd name="connsiteX255" fmla="*/ 1685925 w 2055019"/>
              <a:gd name="connsiteY255" fmla="*/ 566738 h 1016794"/>
              <a:gd name="connsiteX256" fmla="*/ 1697831 w 2055019"/>
              <a:gd name="connsiteY256" fmla="*/ 564357 h 1016794"/>
              <a:gd name="connsiteX257" fmla="*/ 1724025 w 2055019"/>
              <a:gd name="connsiteY257" fmla="*/ 554832 h 1016794"/>
              <a:gd name="connsiteX258" fmla="*/ 1735931 w 2055019"/>
              <a:gd name="connsiteY258" fmla="*/ 552450 h 1016794"/>
              <a:gd name="connsiteX259" fmla="*/ 1743075 w 2055019"/>
              <a:gd name="connsiteY259" fmla="*/ 550069 h 1016794"/>
              <a:gd name="connsiteX260" fmla="*/ 1762125 w 2055019"/>
              <a:gd name="connsiteY260" fmla="*/ 545307 h 1016794"/>
              <a:gd name="connsiteX261" fmla="*/ 1788319 w 2055019"/>
              <a:gd name="connsiteY261" fmla="*/ 533400 h 1016794"/>
              <a:gd name="connsiteX262" fmla="*/ 1852613 w 2055019"/>
              <a:gd name="connsiteY262" fmla="*/ 535782 h 1016794"/>
              <a:gd name="connsiteX263" fmla="*/ 1878806 w 2055019"/>
              <a:gd name="connsiteY263" fmla="*/ 545307 h 1016794"/>
              <a:gd name="connsiteX264" fmla="*/ 1893094 w 2055019"/>
              <a:gd name="connsiteY264" fmla="*/ 547688 h 1016794"/>
              <a:gd name="connsiteX265" fmla="*/ 1907381 w 2055019"/>
              <a:gd name="connsiteY265" fmla="*/ 552450 h 1016794"/>
              <a:gd name="connsiteX266" fmla="*/ 1914525 w 2055019"/>
              <a:gd name="connsiteY266" fmla="*/ 554832 h 1016794"/>
              <a:gd name="connsiteX267" fmla="*/ 1921669 w 2055019"/>
              <a:gd name="connsiteY267" fmla="*/ 559594 h 1016794"/>
              <a:gd name="connsiteX268" fmla="*/ 1919288 w 2055019"/>
              <a:gd name="connsiteY268" fmla="*/ 621507 h 1016794"/>
              <a:gd name="connsiteX269" fmla="*/ 1916906 w 2055019"/>
              <a:gd name="connsiteY269" fmla="*/ 642938 h 1016794"/>
              <a:gd name="connsiteX270" fmla="*/ 1931194 w 2055019"/>
              <a:gd name="connsiteY270" fmla="*/ 652463 h 1016794"/>
              <a:gd name="connsiteX271" fmla="*/ 1943100 w 2055019"/>
              <a:gd name="connsiteY271" fmla="*/ 657225 h 1016794"/>
              <a:gd name="connsiteX272" fmla="*/ 1952625 w 2055019"/>
              <a:gd name="connsiteY272" fmla="*/ 661988 h 1016794"/>
              <a:gd name="connsiteX273" fmla="*/ 1995488 w 2055019"/>
              <a:gd name="connsiteY273" fmla="*/ 669132 h 1016794"/>
              <a:gd name="connsiteX274" fmla="*/ 2005013 w 2055019"/>
              <a:gd name="connsiteY274" fmla="*/ 671513 h 1016794"/>
              <a:gd name="connsiteX275" fmla="*/ 2019300 w 2055019"/>
              <a:gd name="connsiteY275" fmla="*/ 676275 h 1016794"/>
              <a:gd name="connsiteX276" fmla="*/ 2026444 w 2055019"/>
              <a:gd name="connsiteY276" fmla="*/ 683419 h 1016794"/>
              <a:gd name="connsiteX277" fmla="*/ 2033588 w 2055019"/>
              <a:gd name="connsiteY277" fmla="*/ 688182 h 1016794"/>
              <a:gd name="connsiteX278" fmla="*/ 2040731 w 2055019"/>
              <a:gd name="connsiteY278" fmla="*/ 697707 h 1016794"/>
              <a:gd name="connsiteX279" fmla="*/ 2040731 w 2055019"/>
              <a:gd name="connsiteY279" fmla="*/ 745332 h 1016794"/>
              <a:gd name="connsiteX280" fmla="*/ 2035969 w 2055019"/>
              <a:gd name="connsiteY280" fmla="*/ 759619 h 1016794"/>
              <a:gd name="connsiteX281" fmla="*/ 2031206 w 2055019"/>
              <a:gd name="connsiteY281" fmla="*/ 766763 h 1016794"/>
              <a:gd name="connsiteX282" fmla="*/ 2038350 w 2055019"/>
              <a:gd name="connsiteY282" fmla="*/ 792957 h 1016794"/>
              <a:gd name="connsiteX283" fmla="*/ 2052638 w 2055019"/>
              <a:gd name="connsiteY283" fmla="*/ 797719 h 1016794"/>
              <a:gd name="connsiteX284" fmla="*/ 2055019 w 2055019"/>
              <a:gd name="connsiteY284" fmla="*/ 804863 h 1016794"/>
              <a:gd name="connsiteX285" fmla="*/ 2052638 w 2055019"/>
              <a:gd name="connsiteY285" fmla="*/ 823913 h 1016794"/>
              <a:gd name="connsiteX286" fmla="*/ 2050256 w 2055019"/>
              <a:gd name="connsiteY286" fmla="*/ 831057 h 1016794"/>
              <a:gd name="connsiteX287" fmla="*/ 2040731 w 2055019"/>
              <a:gd name="connsiteY287" fmla="*/ 835819 h 1016794"/>
              <a:gd name="connsiteX288" fmla="*/ 1993106 w 2055019"/>
              <a:gd name="connsiteY288" fmla="*/ 840582 h 1016794"/>
              <a:gd name="connsiteX289" fmla="*/ 1990725 w 2055019"/>
              <a:gd name="connsiteY289" fmla="*/ 847725 h 1016794"/>
              <a:gd name="connsiteX290" fmla="*/ 2000250 w 2055019"/>
              <a:gd name="connsiteY290" fmla="*/ 859632 h 1016794"/>
              <a:gd name="connsiteX291" fmla="*/ 2012156 w 2055019"/>
              <a:gd name="connsiteY291" fmla="*/ 873919 h 1016794"/>
              <a:gd name="connsiteX292" fmla="*/ 2016919 w 2055019"/>
              <a:gd name="connsiteY292" fmla="*/ 881063 h 1016794"/>
              <a:gd name="connsiteX293" fmla="*/ 2026444 w 2055019"/>
              <a:gd name="connsiteY293" fmla="*/ 888207 h 1016794"/>
              <a:gd name="connsiteX294" fmla="*/ 2033588 w 2055019"/>
              <a:gd name="connsiteY294" fmla="*/ 895350 h 1016794"/>
              <a:gd name="connsiteX295" fmla="*/ 2035969 w 2055019"/>
              <a:gd name="connsiteY295" fmla="*/ 902494 h 1016794"/>
              <a:gd name="connsiteX296" fmla="*/ 2040731 w 2055019"/>
              <a:gd name="connsiteY296" fmla="*/ 909638 h 1016794"/>
              <a:gd name="connsiteX297" fmla="*/ 2043113 w 2055019"/>
              <a:gd name="connsiteY297" fmla="*/ 919163 h 1016794"/>
              <a:gd name="connsiteX298" fmla="*/ 2040731 w 2055019"/>
              <a:gd name="connsiteY298" fmla="*/ 966788 h 1016794"/>
              <a:gd name="connsiteX299" fmla="*/ 2033588 w 2055019"/>
              <a:gd name="connsiteY299" fmla="*/ 969169 h 1016794"/>
              <a:gd name="connsiteX300" fmla="*/ 2026444 w 2055019"/>
              <a:gd name="connsiteY300" fmla="*/ 973932 h 1016794"/>
              <a:gd name="connsiteX301" fmla="*/ 2007394 w 2055019"/>
              <a:gd name="connsiteY301" fmla="*/ 978694 h 1016794"/>
              <a:gd name="connsiteX302" fmla="*/ 1950244 w 2055019"/>
              <a:gd name="connsiteY302" fmla="*/ 976313 h 1016794"/>
              <a:gd name="connsiteX303" fmla="*/ 1940719 w 2055019"/>
              <a:gd name="connsiteY303" fmla="*/ 981075 h 1016794"/>
              <a:gd name="connsiteX304" fmla="*/ 1938338 w 2055019"/>
              <a:gd name="connsiteY304" fmla="*/ 988219 h 1016794"/>
              <a:gd name="connsiteX305" fmla="*/ 1935956 w 2055019"/>
              <a:gd name="connsiteY305" fmla="*/ 1004888 h 1016794"/>
              <a:gd name="connsiteX306" fmla="*/ 1933575 w 2055019"/>
              <a:gd name="connsiteY306" fmla="*/ 1012032 h 1016794"/>
              <a:gd name="connsiteX307" fmla="*/ 1926431 w 2055019"/>
              <a:gd name="connsiteY307" fmla="*/ 1014413 h 1016794"/>
              <a:gd name="connsiteX308" fmla="*/ 1912144 w 2055019"/>
              <a:gd name="connsiteY308" fmla="*/ 1016794 h 1016794"/>
              <a:gd name="connsiteX309" fmla="*/ 1881188 w 2055019"/>
              <a:gd name="connsiteY309" fmla="*/ 1014413 h 1016794"/>
              <a:gd name="connsiteX310" fmla="*/ 1871663 w 2055019"/>
              <a:gd name="connsiteY310" fmla="*/ 1009650 h 1016794"/>
              <a:gd name="connsiteX311" fmla="*/ 1854994 w 2055019"/>
              <a:gd name="connsiteY311" fmla="*/ 1007269 h 1016794"/>
              <a:gd name="connsiteX312" fmla="*/ 1821656 w 2055019"/>
              <a:gd name="connsiteY312" fmla="*/ 1004888 h 1016794"/>
              <a:gd name="connsiteX313" fmla="*/ 1814513 w 2055019"/>
              <a:gd name="connsiteY313" fmla="*/ 1007269 h 1016794"/>
              <a:gd name="connsiteX314" fmla="*/ 1788319 w 2055019"/>
              <a:gd name="connsiteY314" fmla="*/ 1002507 h 1016794"/>
              <a:gd name="connsiteX315" fmla="*/ 1759744 w 2055019"/>
              <a:gd name="connsiteY315" fmla="*/ 995363 h 1016794"/>
              <a:gd name="connsiteX316" fmla="*/ 1752600 w 2055019"/>
              <a:gd name="connsiteY316" fmla="*/ 988219 h 1016794"/>
              <a:gd name="connsiteX317" fmla="*/ 1757363 w 2055019"/>
              <a:gd name="connsiteY317" fmla="*/ 938213 h 1016794"/>
              <a:gd name="connsiteX318" fmla="*/ 1754981 w 2055019"/>
              <a:gd name="connsiteY318" fmla="*/ 923925 h 1016794"/>
              <a:gd name="connsiteX319" fmla="*/ 1721644 w 2055019"/>
              <a:gd name="connsiteY319" fmla="*/ 900113 h 1016794"/>
              <a:gd name="connsiteX320" fmla="*/ 1714500 w 2055019"/>
              <a:gd name="connsiteY320" fmla="*/ 895350 h 1016794"/>
              <a:gd name="connsiteX321" fmla="*/ 1695450 w 2055019"/>
              <a:gd name="connsiteY321" fmla="*/ 892969 h 1016794"/>
              <a:gd name="connsiteX322" fmla="*/ 1666875 w 2055019"/>
              <a:gd name="connsiteY322" fmla="*/ 895350 h 1016794"/>
              <a:gd name="connsiteX323" fmla="*/ 1662113 w 2055019"/>
              <a:gd name="connsiteY323" fmla="*/ 902494 h 1016794"/>
              <a:gd name="connsiteX324" fmla="*/ 1640681 w 2055019"/>
              <a:gd name="connsiteY324" fmla="*/ 909638 h 1016794"/>
              <a:gd name="connsiteX325" fmla="*/ 1607344 w 2055019"/>
              <a:gd name="connsiteY325" fmla="*/ 907257 h 1016794"/>
              <a:gd name="connsiteX326" fmla="*/ 1588294 w 2055019"/>
              <a:gd name="connsiteY326" fmla="*/ 904875 h 1016794"/>
              <a:gd name="connsiteX327" fmla="*/ 1581150 w 2055019"/>
              <a:gd name="connsiteY327" fmla="*/ 897732 h 1016794"/>
              <a:gd name="connsiteX328" fmla="*/ 1578769 w 2055019"/>
              <a:gd name="connsiteY328" fmla="*/ 885825 h 1016794"/>
              <a:gd name="connsiteX329" fmla="*/ 1571625 w 2055019"/>
              <a:gd name="connsiteY329" fmla="*/ 845344 h 1016794"/>
              <a:gd name="connsiteX330" fmla="*/ 1554956 w 2055019"/>
              <a:gd name="connsiteY330" fmla="*/ 840582 h 1016794"/>
              <a:gd name="connsiteX331" fmla="*/ 1547813 w 2055019"/>
              <a:gd name="connsiteY331" fmla="*/ 835819 h 1016794"/>
              <a:gd name="connsiteX332" fmla="*/ 1485900 w 2055019"/>
              <a:gd name="connsiteY332" fmla="*/ 842963 h 1016794"/>
              <a:gd name="connsiteX333" fmla="*/ 1464469 w 2055019"/>
              <a:gd name="connsiteY333" fmla="*/ 831057 h 1016794"/>
              <a:gd name="connsiteX334" fmla="*/ 1454944 w 2055019"/>
              <a:gd name="connsiteY334" fmla="*/ 816769 h 1016794"/>
              <a:gd name="connsiteX335" fmla="*/ 1466850 w 2055019"/>
              <a:gd name="connsiteY335" fmla="*/ 797719 h 1016794"/>
              <a:gd name="connsiteX336" fmla="*/ 1485900 w 2055019"/>
              <a:gd name="connsiteY336" fmla="*/ 776288 h 1016794"/>
              <a:gd name="connsiteX337" fmla="*/ 1493044 w 2055019"/>
              <a:gd name="connsiteY337" fmla="*/ 773907 h 1016794"/>
              <a:gd name="connsiteX338" fmla="*/ 1512094 w 2055019"/>
              <a:gd name="connsiteY338" fmla="*/ 762000 h 1016794"/>
              <a:gd name="connsiteX339" fmla="*/ 1516856 w 2055019"/>
              <a:gd name="connsiteY339" fmla="*/ 752475 h 1016794"/>
              <a:gd name="connsiteX340" fmla="*/ 1521619 w 2055019"/>
              <a:gd name="connsiteY340" fmla="*/ 735807 h 1016794"/>
              <a:gd name="connsiteX341" fmla="*/ 1519238 w 2055019"/>
              <a:gd name="connsiteY341" fmla="*/ 707232 h 1016794"/>
              <a:gd name="connsiteX342" fmla="*/ 1516856 w 2055019"/>
              <a:gd name="connsiteY342" fmla="*/ 697707 h 1016794"/>
              <a:gd name="connsiteX343" fmla="*/ 1509713 w 2055019"/>
              <a:gd name="connsiteY343" fmla="*/ 688182 h 1016794"/>
              <a:gd name="connsiteX344" fmla="*/ 1495425 w 2055019"/>
              <a:gd name="connsiteY344" fmla="*/ 671513 h 1016794"/>
              <a:gd name="connsiteX345" fmla="*/ 1483519 w 2055019"/>
              <a:gd name="connsiteY345" fmla="*/ 664369 h 1016794"/>
              <a:gd name="connsiteX346" fmla="*/ 1476375 w 2055019"/>
              <a:gd name="connsiteY346" fmla="*/ 659607 h 1016794"/>
              <a:gd name="connsiteX347" fmla="*/ 1462088 w 2055019"/>
              <a:gd name="connsiteY347" fmla="*/ 654844 h 1016794"/>
              <a:gd name="connsiteX348" fmla="*/ 1445419 w 2055019"/>
              <a:gd name="connsiteY348" fmla="*/ 647700 h 1016794"/>
              <a:gd name="connsiteX349" fmla="*/ 1414463 w 2055019"/>
              <a:gd name="connsiteY349" fmla="*/ 650082 h 1016794"/>
              <a:gd name="connsiteX350" fmla="*/ 1404938 w 2055019"/>
              <a:gd name="connsiteY350" fmla="*/ 659607 h 1016794"/>
              <a:gd name="connsiteX351" fmla="*/ 1397794 w 2055019"/>
              <a:gd name="connsiteY351" fmla="*/ 664369 h 1016794"/>
              <a:gd name="connsiteX352" fmla="*/ 1381125 w 2055019"/>
              <a:gd name="connsiteY352" fmla="*/ 678657 h 1016794"/>
              <a:gd name="connsiteX353" fmla="*/ 1371600 w 2055019"/>
              <a:gd name="connsiteY353" fmla="*/ 695325 h 1016794"/>
              <a:gd name="connsiteX354" fmla="*/ 1362075 w 2055019"/>
              <a:gd name="connsiteY354" fmla="*/ 707232 h 1016794"/>
              <a:gd name="connsiteX355" fmla="*/ 1347788 w 2055019"/>
              <a:gd name="connsiteY355" fmla="*/ 733425 h 1016794"/>
              <a:gd name="connsiteX356" fmla="*/ 1321594 w 2055019"/>
              <a:gd name="connsiteY356" fmla="*/ 762000 h 1016794"/>
              <a:gd name="connsiteX357" fmla="*/ 1290638 w 2055019"/>
              <a:gd name="connsiteY357" fmla="*/ 778669 h 1016794"/>
              <a:gd name="connsiteX358" fmla="*/ 1276350 w 2055019"/>
              <a:gd name="connsiteY358" fmla="*/ 783432 h 1016794"/>
              <a:gd name="connsiteX359" fmla="*/ 1228725 w 2055019"/>
              <a:gd name="connsiteY359" fmla="*/ 781050 h 1016794"/>
              <a:gd name="connsiteX360" fmla="*/ 1207294 w 2055019"/>
              <a:gd name="connsiteY360" fmla="*/ 776288 h 1016794"/>
              <a:gd name="connsiteX361" fmla="*/ 1195388 w 2055019"/>
              <a:gd name="connsiteY361" fmla="*/ 773907 h 1016794"/>
              <a:gd name="connsiteX362" fmla="*/ 1185863 w 2055019"/>
              <a:gd name="connsiteY362" fmla="*/ 769144 h 1016794"/>
              <a:gd name="connsiteX363" fmla="*/ 1178719 w 2055019"/>
              <a:gd name="connsiteY363" fmla="*/ 754857 h 1016794"/>
              <a:gd name="connsiteX364" fmla="*/ 1173956 w 2055019"/>
              <a:gd name="connsiteY364" fmla="*/ 747713 h 1016794"/>
              <a:gd name="connsiteX365" fmla="*/ 1176338 w 2055019"/>
              <a:gd name="connsiteY365" fmla="*/ 721519 h 1016794"/>
              <a:gd name="connsiteX366" fmla="*/ 1178719 w 2055019"/>
              <a:gd name="connsiteY366" fmla="*/ 711994 h 1016794"/>
              <a:gd name="connsiteX367" fmla="*/ 1185863 w 2055019"/>
              <a:gd name="connsiteY367" fmla="*/ 692944 h 1016794"/>
              <a:gd name="connsiteX368" fmla="*/ 1188244 w 2055019"/>
              <a:gd name="connsiteY368" fmla="*/ 681038 h 1016794"/>
              <a:gd name="connsiteX369" fmla="*/ 1200150 w 2055019"/>
              <a:gd name="connsiteY369" fmla="*/ 666750 h 1016794"/>
              <a:gd name="connsiteX370" fmla="*/ 1204913 w 2055019"/>
              <a:gd name="connsiteY370" fmla="*/ 659607 h 1016794"/>
              <a:gd name="connsiteX371" fmla="*/ 1212056 w 2055019"/>
              <a:gd name="connsiteY371" fmla="*/ 650082 h 1016794"/>
              <a:gd name="connsiteX372" fmla="*/ 1216819 w 2055019"/>
              <a:gd name="connsiteY372" fmla="*/ 638175 h 1016794"/>
              <a:gd name="connsiteX373" fmla="*/ 1214438 w 2055019"/>
              <a:gd name="connsiteY373" fmla="*/ 611982 h 1016794"/>
              <a:gd name="connsiteX374" fmla="*/ 1209675 w 2055019"/>
              <a:gd name="connsiteY374" fmla="*/ 597694 h 1016794"/>
              <a:gd name="connsiteX375" fmla="*/ 1171575 w 2055019"/>
              <a:gd name="connsiteY375" fmla="*/ 576263 h 1016794"/>
              <a:gd name="connsiteX376" fmla="*/ 1152525 w 2055019"/>
              <a:gd name="connsiteY376" fmla="*/ 569119 h 1016794"/>
              <a:gd name="connsiteX377" fmla="*/ 1131094 w 2055019"/>
              <a:gd name="connsiteY377" fmla="*/ 561975 h 1016794"/>
              <a:gd name="connsiteX378" fmla="*/ 1088231 w 2055019"/>
              <a:gd name="connsiteY378" fmla="*/ 564357 h 1016794"/>
              <a:gd name="connsiteX379" fmla="*/ 1078706 w 2055019"/>
              <a:gd name="connsiteY379" fmla="*/ 573882 h 1016794"/>
              <a:gd name="connsiteX380" fmla="*/ 1071563 w 2055019"/>
              <a:gd name="connsiteY380" fmla="*/ 578644 h 1016794"/>
              <a:gd name="connsiteX381" fmla="*/ 1066800 w 2055019"/>
              <a:gd name="connsiteY381" fmla="*/ 595313 h 1016794"/>
              <a:gd name="connsiteX382" fmla="*/ 1062038 w 2055019"/>
              <a:gd name="connsiteY382" fmla="*/ 607219 h 1016794"/>
              <a:gd name="connsiteX383" fmla="*/ 1057275 w 2055019"/>
              <a:gd name="connsiteY383" fmla="*/ 623888 h 1016794"/>
              <a:gd name="connsiteX384" fmla="*/ 1050131 w 2055019"/>
              <a:gd name="connsiteY384" fmla="*/ 638175 h 1016794"/>
              <a:gd name="connsiteX385" fmla="*/ 1047750 w 2055019"/>
              <a:gd name="connsiteY385" fmla="*/ 657225 h 1016794"/>
              <a:gd name="connsiteX386" fmla="*/ 1035844 w 2055019"/>
              <a:gd name="connsiteY386" fmla="*/ 683419 h 1016794"/>
              <a:gd name="connsiteX387" fmla="*/ 1031081 w 2055019"/>
              <a:gd name="connsiteY387" fmla="*/ 692944 h 1016794"/>
              <a:gd name="connsiteX388" fmla="*/ 1023938 w 2055019"/>
              <a:gd name="connsiteY388" fmla="*/ 702469 h 1016794"/>
              <a:gd name="connsiteX389" fmla="*/ 990600 w 2055019"/>
              <a:gd name="connsiteY389" fmla="*/ 723900 h 1016794"/>
              <a:gd name="connsiteX390" fmla="*/ 962025 w 2055019"/>
              <a:gd name="connsiteY390" fmla="*/ 728663 h 1016794"/>
              <a:gd name="connsiteX391" fmla="*/ 904875 w 2055019"/>
              <a:gd name="connsiteY391" fmla="*/ 726282 h 1016794"/>
              <a:gd name="connsiteX392" fmla="*/ 897731 w 2055019"/>
              <a:gd name="connsiteY392" fmla="*/ 723900 h 1016794"/>
              <a:gd name="connsiteX393" fmla="*/ 838200 w 2055019"/>
              <a:gd name="connsiteY393" fmla="*/ 721519 h 1016794"/>
              <a:gd name="connsiteX394" fmla="*/ 821531 w 2055019"/>
              <a:gd name="connsiteY394" fmla="*/ 704850 h 1016794"/>
              <a:gd name="connsiteX395" fmla="*/ 816769 w 2055019"/>
              <a:gd name="connsiteY395" fmla="*/ 690563 h 1016794"/>
              <a:gd name="connsiteX396" fmla="*/ 814388 w 2055019"/>
              <a:gd name="connsiteY396" fmla="*/ 683419 h 1016794"/>
              <a:gd name="connsiteX397" fmla="*/ 816769 w 2055019"/>
              <a:gd name="connsiteY397" fmla="*/ 676275 h 1016794"/>
              <a:gd name="connsiteX398" fmla="*/ 819150 w 2055019"/>
              <a:gd name="connsiteY398" fmla="*/ 666750 h 1016794"/>
              <a:gd name="connsiteX399" fmla="*/ 826294 w 2055019"/>
              <a:gd name="connsiteY399" fmla="*/ 659607 h 1016794"/>
              <a:gd name="connsiteX400" fmla="*/ 835819 w 2055019"/>
              <a:gd name="connsiteY400" fmla="*/ 652463 h 1016794"/>
              <a:gd name="connsiteX401" fmla="*/ 842963 w 2055019"/>
              <a:gd name="connsiteY401" fmla="*/ 650082 h 1016794"/>
              <a:gd name="connsiteX402" fmla="*/ 854869 w 2055019"/>
              <a:gd name="connsiteY402" fmla="*/ 645319 h 1016794"/>
              <a:gd name="connsiteX403" fmla="*/ 876300 w 2055019"/>
              <a:gd name="connsiteY403" fmla="*/ 631032 h 1016794"/>
              <a:gd name="connsiteX404" fmla="*/ 888206 w 2055019"/>
              <a:gd name="connsiteY404" fmla="*/ 628650 h 1016794"/>
              <a:gd name="connsiteX405" fmla="*/ 902494 w 2055019"/>
              <a:gd name="connsiteY405" fmla="*/ 619125 h 1016794"/>
              <a:gd name="connsiteX406" fmla="*/ 921544 w 2055019"/>
              <a:gd name="connsiteY406" fmla="*/ 607219 h 1016794"/>
              <a:gd name="connsiteX407" fmla="*/ 926306 w 2055019"/>
              <a:gd name="connsiteY407" fmla="*/ 600075 h 1016794"/>
              <a:gd name="connsiteX408" fmla="*/ 933450 w 2055019"/>
              <a:gd name="connsiteY408" fmla="*/ 578644 h 1016794"/>
              <a:gd name="connsiteX409" fmla="*/ 935831 w 2055019"/>
              <a:gd name="connsiteY409" fmla="*/ 571500 h 1016794"/>
              <a:gd name="connsiteX410" fmla="*/ 938213 w 2055019"/>
              <a:gd name="connsiteY410" fmla="*/ 564357 h 1016794"/>
              <a:gd name="connsiteX411" fmla="*/ 933450 w 2055019"/>
              <a:gd name="connsiteY411" fmla="*/ 500063 h 1016794"/>
              <a:gd name="connsiteX412" fmla="*/ 931069 w 2055019"/>
              <a:gd name="connsiteY412" fmla="*/ 490538 h 1016794"/>
              <a:gd name="connsiteX413" fmla="*/ 928688 w 2055019"/>
              <a:gd name="connsiteY413" fmla="*/ 483394 h 1016794"/>
              <a:gd name="connsiteX414" fmla="*/ 919163 w 2055019"/>
              <a:gd name="connsiteY414" fmla="*/ 481013 h 1016794"/>
              <a:gd name="connsiteX415" fmla="*/ 895350 w 2055019"/>
              <a:gd name="connsiteY415" fmla="*/ 478632 h 1016794"/>
              <a:gd name="connsiteX416" fmla="*/ 828675 w 2055019"/>
              <a:gd name="connsiteY416" fmla="*/ 483394 h 1016794"/>
              <a:gd name="connsiteX417" fmla="*/ 812006 w 2055019"/>
              <a:gd name="connsiteY417" fmla="*/ 497682 h 1016794"/>
              <a:gd name="connsiteX418" fmla="*/ 804863 w 2055019"/>
              <a:gd name="connsiteY418" fmla="*/ 502444 h 1016794"/>
              <a:gd name="connsiteX419" fmla="*/ 797719 w 2055019"/>
              <a:gd name="connsiteY419" fmla="*/ 509588 h 1016794"/>
              <a:gd name="connsiteX420" fmla="*/ 790575 w 2055019"/>
              <a:gd name="connsiteY420" fmla="*/ 511969 h 1016794"/>
              <a:gd name="connsiteX421" fmla="*/ 769144 w 2055019"/>
              <a:gd name="connsiteY421" fmla="*/ 528638 h 1016794"/>
              <a:gd name="connsiteX422" fmla="*/ 742950 w 2055019"/>
              <a:gd name="connsiteY422" fmla="*/ 545307 h 1016794"/>
              <a:gd name="connsiteX423" fmla="*/ 728663 w 2055019"/>
              <a:gd name="connsiteY423" fmla="*/ 533400 h 1016794"/>
              <a:gd name="connsiteX424" fmla="*/ 723900 w 2055019"/>
              <a:gd name="connsiteY424" fmla="*/ 519113 h 1016794"/>
              <a:gd name="connsiteX425" fmla="*/ 721519 w 2055019"/>
              <a:gd name="connsiteY425" fmla="*/ 500063 h 1016794"/>
              <a:gd name="connsiteX426" fmla="*/ 716756 w 2055019"/>
              <a:gd name="connsiteY426" fmla="*/ 492919 h 1016794"/>
              <a:gd name="connsiteX427" fmla="*/ 714375 w 2055019"/>
              <a:gd name="connsiteY427" fmla="*/ 481013 h 1016794"/>
              <a:gd name="connsiteX428" fmla="*/ 704850 w 2055019"/>
              <a:gd name="connsiteY428" fmla="*/ 476250 h 1016794"/>
              <a:gd name="connsiteX429" fmla="*/ 697706 w 2055019"/>
              <a:gd name="connsiteY429" fmla="*/ 466725 h 1016794"/>
              <a:gd name="connsiteX430" fmla="*/ 673894 w 2055019"/>
              <a:gd name="connsiteY430" fmla="*/ 457200 h 1016794"/>
              <a:gd name="connsiteX431" fmla="*/ 652463 w 2055019"/>
              <a:gd name="connsiteY431" fmla="*/ 450057 h 1016794"/>
              <a:gd name="connsiteX432" fmla="*/ 631031 w 2055019"/>
              <a:gd name="connsiteY432" fmla="*/ 452438 h 1016794"/>
              <a:gd name="connsiteX433" fmla="*/ 628650 w 2055019"/>
              <a:gd name="connsiteY433" fmla="*/ 466725 h 1016794"/>
              <a:gd name="connsiteX434" fmla="*/ 626269 w 2055019"/>
              <a:gd name="connsiteY434" fmla="*/ 473869 h 1016794"/>
              <a:gd name="connsiteX435" fmla="*/ 621506 w 2055019"/>
              <a:gd name="connsiteY435" fmla="*/ 495300 h 1016794"/>
              <a:gd name="connsiteX436" fmla="*/ 623888 w 2055019"/>
              <a:gd name="connsiteY436" fmla="*/ 526257 h 1016794"/>
              <a:gd name="connsiteX437" fmla="*/ 631031 w 2055019"/>
              <a:gd name="connsiteY437" fmla="*/ 535782 h 1016794"/>
              <a:gd name="connsiteX438" fmla="*/ 645319 w 2055019"/>
              <a:gd name="connsiteY438" fmla="*/ 547688 h 1016794"/>
              <a:gd name="connsiteX439" fmla="*/ 652463 w 2055019"/>
              <a:gd name="connsiteY439" fmla="*/ 554832 h 1016794"/>
              <a:gd name="connsiteX440" fmla="*/ 661988 w 2055019"/>
              <a:gd name="connsiteY440" fmla="*/ 566738 h 1016794"/>
              <a:gd name="connsiteX441" fmla="*/ 666750 w 2055019"/>
              <a:gd name="connsiteY441" fmla="*/ 576263 h 1016794"/>
              <a:gd name="connsiteX442" fmla="*/ 683419 w 2055019"/>
              <a:gd name="connsiteY442" fmla="*/ 588169 h 1016794"/>
              <a:gd name="connsiteX443" fmla="*/ 697706 w 2055019"/>
              <a:gd name="connsiteY443" fmla="*/ 604838 h 1016794"/>
              <a:gd name="connsiteX444" fmla="*/ 726281 w 2055019"/>
              <a:gd name="connsiteY444" fmla="*/ 621507 h 1016794"/>
              <a:gd name="connsiteX445" fmla="*/ 752475 w 2055019"/>
              <a:gd name="connsiteY445" fmla="*/ 638175 h 1016794"/>
              <a:gd name="connsiteX446" fmla="*/ 759619 w 2055019"/>
              <a:gd name="connsiteY446" fmla="*/ 645319 h 1016794"/>
              <a:gd name="connsiteX447" fmla="*/ 773906 w 2055019"/>
              <a:gd name="connsiteY447" fmla="*/ 650082 h 1016794"/>
              <a:gd name="connsiteX448" fmla="*/ 802481 w 2055019"/>
              <a:gd name="connsiteY448" fmla="*/ 650082 h 1016794"/>
              <a:gd name="connsiteX449" fmla="*/ 804863 w 2055019"/>
              <a:gd name="connsiteY449" fmla="*/ 657225 h 1016794"/>
              <a:gd name="connsiteX450" fmla="*/ 797719 w 2055019"/>
              <a:gd name="connsiteY450" fmla="*/ 690563 h 1016794"/>
              <a:gd name="connsiteX451" fmla="*/ 790575 w 2055019"/>
              <a:gd name="connsiteY451" fmla="*/ 697707 h 1016794"/>
              <a:gd name="connsiteX452" fmla="*/ 792956 w 2055019"/>
              <a:gd name="connsiteY452" fmla="*/ 719138 h 1016794"/>
              <a:gd name="connsiteX453" fmla="*/ 795338 w 2055019"/>
              <a:gd name="connsiteY453" fmla="*/ 728663 h 1016794"/>
              <a:gd name="connsiteX454" fmla="*/ 797719 w 2055019"/>
              <a:gd name="connsiteY454" fmla="*/ 745332 h 1016794"/>
              <a:gd name="connsiteX455" fmla="*/ 788194 w 2055019"/>
              <a:gd name="connsiteY455" fmla="*/ 766763 h 1016794"/>
              <a:gd name="connsiteX456" fmla="*/ 781050 w 2055019"/>
              <a:gd name="connsiteY456" fmla="*/ 769144 h 1016794"/>
              <a:gd name="connsiteX457" fmla="*/ 766763 w 2055019"/>
              <a:gd name="connsiteY457" fmla="*/ 781050 h 1016794"/>
              <a:gd name="connsiteX458" fmla="*/ 754856 w 2055019"/>
              <a:gd name="connsiteY458" fmla="*/ 790575 h 1016794"/>
              <a:gd name="connsiteX459" fmla="*/ 745331 w 2055019"/>
              <a:gd name="connsiteY459" fmla="*/ 804863 h 1016794"/>
              <a:gd name="connsiteX460" fmla="*/ 738188 w 2055019"/>
              <a:gd name="connsiteY460" fmla="*/ 819150 h 1016794"/>
              <a:gd name="connsiteX461" fmla="*/ 735806 w 2055019"/>
              <a:gd name="connsiteY461" fmla="*/ 826294 h 1016794"/>
              <a:gd name="connsiteX462" fmla="*/ 728663 w 2055019"/>
              <a:gd name="connsiteY462" fmla="*/ 828675 h 1016794"/>
              <a:gd name="connsiteX463" fmla="*/ 719138 w 2055019"/>
              <a:gd name="connsiteY463" fmla="*/ 833438 h 1016794"/>
              <a:gd name="connsiteX464" fmla="*/ 673894 w 2055019"/>
              <a:gd name="connsiteY464" fmla="*/ 838200 h 1016794"/>
              <a:gd name="connsiteX465" fmla="*/ 652463 w 2055019"/>
              <a:gd name="connsiteY465" fmla="*/ 838200 h 1016794"/>
              <a:gd name="connsiteX466" fmla="*/ 647700 w 2055019"/>
              <a:gd name="connsiteY466" fmla="*/ 831057 h 1016794"/>
              <a:gd name="connsiteX467" fmla="*/ 635794 w 2055019"/>
              <a:gd name="connsiteY467" fmla="*/ 823913 h 1016794"/>
              <a:gd name="connsiteX468" fmla="*/ 619125 w 2055019"/>
              <a:gd name="connsiteY468" fmla="*/ 814388 h 1016794"/>
              <a:gd name="connsiteX469" fmla="*/ 607219 w 2055019"/>
              <a:gd name="connsiteY469" fmla="*/ 812007 h 1016794"/>
              <a:gd name="connsiteX470" fmla="*/ 569119 w 2055019"/>
              <a:gd name="connsiteY470" fmla="*/ 804863 h 1016794"/>
              <a:gd name="connsiteX471" fmla="*/ 531019 w 2055019"/>
              <a:gd name="connsiteY471" fmla="*/ 800100 h 1016794"/>
              <a:gd name="connsiteX472" fmla="*/ 504825 w 2055019"/>
              <a:gd name="connsiteY472" fmla="*/ 802482 h 1016794"/>
              <a:gd name="connsiteX473" fmla="*/ 490538 w 2055019"/>
              <a:gd name="connsiteY473" fmla="*/ 807244 h 1016794"/>
              <a:gd name="connsiteX474" fmla="*/ 483394 w 2055019"/>
              <a:gd name="connsiteY474" fmla="*/ 809625 h 1016794"/>
              <a:gd name="connsiteX475" fmla="*/ 473869 w 2055019"/>
              <a:gd name="connsiteY475" fmla="*/ 812007 h 1016794"/>
              <a:gd name="connsiteX476" fmla="*/ 469106 w 2055019"/>
              <a:gd name="connsiteY476" fmla="*/ 819150 h 1016794"/>
              <a:gd name="connsiteX477" fmla="*/ 461963 w 2055019"/>
              <a:gd name="connsiteY477" fmla="*/ 826294 h 1016794"/>
              <a:gd name="connsiteX478" fmla="*/ 445294 w 2055019"/>
              <a:gd name="connsiteY478" fmla="*/ 854869 h 1016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</a:cxnLst>
            <a:rect l="l" t="t" r="r" b="b"/>
            <a:pathLst>
              <a:path w="2055019" h="1016794">
                <a:moveTo>
                  <a:pt x="445294" y="854869"/>
                </a:moveTo>
                <a:cubicBezTo>
                  <a:pt x="444500" y="861616"/>
                  <a:pt x="452710" y="863407"/>
                  <a:pt x="457200" y="866775"/>
                </a:cubicBezTo>
                <a:cubicBezTo>
                  <a:pt x="459208" y="868281"/>
                  <a:pt x="461922" y="868497"/>
                  <a:pt x="464344" y="869157"/>
                </a:cubicBezTo>
                <a:cubicBezTo>
                  <a:pt x="470659" y="870879"/>
                  <a:pt x="477100" y="872121"/>
                  <a:pt x="483394" y="873919"/>
                </a:cubicBezTo>
                <a:cubicBezTo>
                  <a:pt x="488950" y="875507"/>
                  <a:pt x="494357" y="877769"/>
                  <a:pt x="500063" y="878682"/>
                </a:cubicBezTo>
                <a:cubicBezTo>
                  <a:pt x="514258" y="880953"/>
                  <a:pt x="542925" y="883444"/>
                  <a:pt x="542925" y="883444"/>
                </a:cubicBezTo>
                <a:cubicBezTo>
                  <a:pt x="562283" y="902802"/>
                  <a:pt x="554241" y="889859"/>
                  <a:pt x="559594" y="907257"/>
                </a:cubicBezTo>
                <a:cubicBezTo>
                  <a:pt x="561809" y="914454"/>
                  <a:pt x="566738" y="928688"/>
                  <a:pt x="566738" y="928688"/>
                </a:cubicBezTo>
                <a:cubicBezTo>
                  <a:pt x="565944" y="942182"/>
                  <a:pt x="566361" y="955802"/>
                  <a:pt x="564356" y="969169"/>
                </a:cubicBezTo>
                <a:cubicBezTo>
                  <a:pt x="563931" y="971999"/>
                  <a:pt x="562021" y="974796"/>
                  <a:pt x="559594" y="976313"/>
                </a:cubicBezTo>
                <a:cubicBezTo>
                  <a:pt x="555337" y="978974"/>
                  <a:pt x="549796" y="978830"/>
                  <a:pt x="545306" y="981075"/>
                </a:cubicBezTo>
                <a:cubicBezTo>
                  <a:pt x="527841" y="989808"/>
                  <a:pt x="544187" y="982679"/>
                  <a:pt x="523875" y="988219"/>
                </a:cubicBezTo>
                <a:cubicBezTo>
                  <a:pt x="498739" y="995075"/>
                  <a:pt x="517983" y="994336"/>
                  <a:pt x="481013" y="995363"/>
                </a:cubicBezTo>
                <a:cubicBezTo>
                  <a:pt x="433400" y="996685"/>
                  <a:pt x="385763" y="996950"/>
                  <a:pt x="338138" y="997744"/>
                </a:cubicBezTo>
                <a:cubicBezTo>
                  <a:pt x="329582" y="999883"/>
                  <a:pt x="325767" y="1000997"/>
                  <a:pt x="316706" y="1002507"/>
                </a:cubicBezTo>
                <a:cubicBezTo>
                  <a:pt x="311170" y="1003430"/>
                  <a:pt x="305594" y="1004094"/>
                  <a:pt x="300038" y="1004888"/>
                </a:cubicBezTo>
                <a:cubicBezTo>
                  <a:pt x="297657" y="1005682"/>
                  <a:pt x="295404" y="1007269"/>
                  <a:pt x="292894" y="1007269"/>
                </a:cubicBezTo>
                <a:cubicBezTo>
                  <a:pt x="278973" y="1007269"/>
                  <a:pt x="269841" y="1005040"/>
                  <a:pt x="257175" y="1002507"/>
                </a:cubicBezTo>
                <a:cubicBezTo>
                  <a:pt x="254794" y="1000919"/>
                  <a:pt x="252591" y="999024"/>
                  <a:pt x="250031" y="997744"/>
                </a:cubicBezTo>
                <a:cubicBezTo>
                  <a:pt x="247786" y="996622"/>
                  <a:pt x="244133" y="997542"/>
                  <a:pt x="242888" y="995363"/>
                </a:cubicBezTo>
                <a:cubicBezTo>
                  <a:pt x="240492" y="991171"/>
                  <a:pt x="241554" y="985788"/>
                  <a:pt x="240506" y="981075"/>
                </a:cubicBezTo>
                <a:cubicBezTo>
                  <a:pt x="239961" y="978625"/>
                  <a:pt x="238919" y="976313"/>
                  <a:pt x="238125" y="973932"/>
                </a:cubicBezTo>
                <a:cubicBezTo>
                  <a:pt x="238890" y="970874"/>
                  <a:pt x="241178" y="960684"/>
                  <a:pt x="242888" y="957263"/>
                </a:cubicBezTo>
                <a:cubicBezTo>
                  <a:pt x="244168" y="954703"/>
                  <a:pt x="245165" y="951539"/>
                  <a:pt x="247650" y="950119"/>
                </a:cubicBezTo>
                <a:cubicBezTo>
                  <a:pt x="251164" y="948111"/>
                  <a:pt x="255587" y="948532"/>
                  <a:pt x="259556" y="947738"/>
                </a:cubicBezTo>
                <a:cubicBezTo>
                  <a:pt x="261937" y="946150"/>
                  <a:pt x="264140" y="944255"/>
                  <a:pt x="266700" y="942975"/>
                </a:cubicBezTo>
                <a:cubicBezTo>
                  <a:pt x="268945" y="941852"/>
                  <a:pt x="271755" y="941986"/>
                  <a:pt x="273844" y="940594"/>
                </a:cubicBezTo>
                <a:cubicBezTo>
                  <a:pt x="276646" y="938726"/>
                  <a:pt x="278401" y="935606"/>
                  <a:pt x="280988" y="933450"/>
                </a:cubicBezTo>
                <a:cubicBezTo>
                  <a:pt x="283186" y="931618"/>
                  <a:pt x="285750" y="930275"/>
                  <a:pt x="288131" y="928688"/>
                </a:cubicBezTo>
                <a:cubicBezTo>
                  <a:pt x="296451" y="916208"/>
                  <a:pt x="294289" y="922770"/>
                  <a:pt x="290513" y="900113"/>
                </a:cubicBezTo>
                <a:cubicBezTo>
                  <a:pt x="290100" y="897637"/>
                  <a:pt x="289906" y="894744"/>
                  <a:pt x="288131" y="892969"/>
                </a:cubicBezTo>
                <a:cubicBezTo>
                  <a:pt x="286356" y="891194"/>
                  <a:pt x="283369" y="891382"/>
                  <a:pt x="280988" y="890588"/>
                </a:cubicBezTo>
                <a:cubicBezTo>
                  <a:pt x="276225" y="887413"/>
                  <a:pt x="270747" y="885111"/>
                  <a:pt x="266700" y="881063"/>
                </a:cubicBezTo>
                <a:cubicBezTo>
                  <a:pt x="261938" y="876300"/>
                  <a:pt x="258803" y="868905"/>
                  <a:pt x="252413" y="866775"/>
                </a:cubicBezTo>
                <a:lnTo>
                  <a:pt x="238125" y="862013"/>
                </a:lnTo>
                <a:cubicBezTo>
                  <a:pt x="235744" y="861219"/>
                  <a:pt x="233442" y="860124"/>
                  <a:pt x="230981" y="859632"/>
                </a:cubicBezTo>
                <a:lnTo>
                  <a:pt x="219075" y="857250"/>
                </a:lnTo>
                <a:cubicBezTo>
                  <a:pt x="207169" y="858044"/>
                  <a:pt x="195216" y="858314"/>
                  <a:pt x="183356" y="859632"/>
                </a:cubicBezTo>
                <a:cubicBezTo>
                  <a:pt x="180862" y="859909"/>
                  <a:pt x="177988" y="860238"/>
                  <a:pt x="176213" y="862013"/>
                </a:cubicBezTo>
                <a:cubicBezTo>
                  <a:pt x="153211" y="885015"/>
                  <a:pt x="198394" y="852782"/>
                  <a:pt x="166688" y="873919"/>
                </a:cubicBezTo>
                <a:cubicBezTo>
                  <a:pt x="162008" y="887954"/>
                  <a:pt x="167460" y="874113"/>
                  <a:pt x="157163" y="890588"/>
                </a:cubicBezTo>
                <a:cubicBezTo>
                  <a:pt x="155282" y="893598"/>
                  <a:pt x="154463" y="897224"/>
                  <a:pt x="152400" y="900113"/>
                </a:cubicBezTo>
                <a:cubicBezTo>
                  <a:pt x="150442" y="902853"/>
                  <a:pt x="147448" y="904700"/>
                  <a:pt x="145256" y="907257"/>
                </a:cubicBezTo>
                <a:cubicBezTo>
                  <a:pt x="142673" y="910270"/>
                  <a:pt x="141162" y="914241"/>
                  <a:pt x="138113" y="916782"/>
                </a:cubicBezTo>
                <a:cubicBezTo>
                  <a:pt x="136185" y="918389"/>
                  <a:pt x="133276" y="918174"/>
                  <a:pt x="130969" y="919163"/>
                </a:cubicBezTo>
                <a:cubicBezTo>
                  <a:pt x="113714" y="926557"/>
                  <a:pt x="129611" y="922291"/>
                  <a:pt x="109538" y="926307"/>
                </a:cubicBezTo>
                <a:cubicBezTo>
                  <a:pt x="105569" y="924719"/>
                  <a:pt x="100654" y="924567"/>
                  <a:pt x="97631" y="921544"/>
                </a:cubicBezTo>
                <a:cubicBezTo>
                  <a:pt x="95317" y="919230"/>
                  <a:pt x="96539" y="915027"/>
                  <a:pt x="95250" y="912019"/>
                </a:cubicBezTo>
                <a:cubicBezTo>
                  <a:pt x="94123" y="909388"/>
                  <a:pt x="91650" y="907490"/>
                  <a:pt x="90488" y="904875"/>
                </a:cubicBezTo>
                <a:cubicBezTo>
                  <a:pt x="88449" y="900288"/>
                  <a:pt x="85725" y="890588"/>
                  <a:pt x="85725" y="890588"/>
                </a:cubicBezTo>
                <a:cubicBezTo>
                  <a:pt x="86519" y="881063"/>
                  <a:pt x="86535" y="871441"/>
                  <a:pt x="88106" y="862013"/>
                </a:cubicBezTo>
                <a:cubicBezTo>
                  <a:pt x="88931" y="857061"/>
                  <a:pt x="91281" y="852488"/>
                  <a:pt x="92869" y="847725"/>
                </a:cubicBezTo>
                <a:lnTo>
                  <a:pt x="95250" y="840582"/>
                </a:lnTo>
                <a:cubicBezTo>
                  <a:pt x="94456" y="835819"/>
                  <a:pt x="95028" y="830613"/>
                  <a:pt x="92869" y="826294"/>
                </a:cubicBezTo>
                <a:cubicBezTo>
                  <a:pt x="90816" y="822189"/>
                  <a:pt x="79565" y="819399"/>
                  <a:pt x="76200" y="819150"/>
                </a:cubicBezTo>
                <a:cubicBezTo>
                  <a:pt x="57976" y="817800"/>
                  <a:pt x="39687" y="817563"/>
                  <a:pt x="21431" y="816769"/>
                </a:cubicBezTo>
                <a:cubicBezTo>
                  <a:pt x="19844" y="813594"/>
                  <a:pt x="18799" y="810084"/>
                  <a:pt x="16669" y="807244"/>
                </a:cubicBezTo>
                <a:cubicBezTo>
                  <a:pt x="13975" y="803652"/>
                  <a:pt x="9454" y="801569"/>
                  <a:pt x="7144" y="797719"/>
                </a:cubicBezTo>
                <a:cubicBezTo>
                  <a:pt x="4658" y="793575"/>
                  <a:pt x="1439" y="779665"/>
                  <a:pt x="0" y="773907"/>
                </a:cubicBezTo>
                <a:cubicBezTo>
                  <a:pt x="794" y="769144"/>
                  <a:pt x="854" y="764200"/>
                  <a:pt x="2381" y="759619"/>
                </a:cubicBezTo>
                <a:cubicBezTo>
                  <a:pt x="4039" y="754646"/>
                  <a:pt x="10972" y="748648"/>
                  <a:pt x="14288" y="745332"/>
                </a:cubicBezTo>
                <a:cubicBezTo>
                  <a:pt x="15461" y="742986"/>
                  <a:pt x="21007" y="730908"/>
                  <a:pt x="23813" y="728663"/>
                </a:cubicBezTo>
                <a:cubicBezTo>
                  <a:pt x="25773" y="727095"/>
                  <a:pt x="28575" y="727076"/>
                  <a:pt x="30956" y="726282"/>
                </a:cubicBezTo>
                <a:cubicBezTo>
                  <a:pt x="33337" y="723901"/>
                  <a:pt x="36232" y="721940"/>
                  <a:pt x="38100" y="719138"/>
                </a:cubicBezTo>
                <a:cubicBezTo>
                  <a:pt x="39465" y="717091"/>
                  <a:pt x="42546" y="703735"/>
                  <a:pt x="42863" y="702469"/>
                </a:cubicBezTo>
                <a:cubicBezTo>
                  <a:pt x="42069" y="694532"/>
                  <a:pt x="41951" y="686497"/>
                  <a:pt x="40481" y="678657"/>
                </a:cubicBezTo>
                <a:cubicBezTo>
                  <a:pt x="39556" y="673723"/>
                  <a:pt x="35719" y="664369"/>
                  <a:pt x="35719" y="664369"/>
                </a:cubicBezTo>
                <a:cubicBezTo>
                  <a:pt x="36513" y="661194"/>
                  <a:pt x="35615" y="656974"/>
                  <a:pt x="38100" y="654844"/>
                </a:cubicBezTo>
                <a:cubicBezTo>
                  <a:pt x="46384" y="647744"/>
                  <a:pt x="84158" y="647812"/>
                  <a:pt x="85725" y="647700"/>
                </a:cubicBezTo>
                <a:cubicBezTo>
                  <a:pt x="84931" y="637381"/>
                  <a:pt x="85251" y="626916"/>
                  <a:pt x="83344" y="616744"/>
                </a:cubicBezTo>
                <a:cubicBezTo>
                  <a:pt x="82817" y="613931"/>
                  <a:pt x="79708" y="612231"/>
                  <a:pt x="78581" y="609600"/>
                </a:cubicBezTo>
                <a:cubicBezTo>
                  <a:pt x="77292" y="606592"/>
                  <a:pt x="76994" y="603250"/>
                  <a:pt x="76200" y="600075"/>
                </a:cubicBezTo>
                <a:cubicBezTo>
                  <a:pt x="76994" y="581819"/>
                  <a:pt x="75476" y="563315"/>
                  <a:pt x="78581" y="545307"/>
                </a:cubicBezTo>
                <a:cubicBezTo>
                  <a:pt x="79554" y="539666"/>
                  <a:pt x="83343" y="534194"/>
                  <a:pt x="88106" y="531019"/>
                </a:cubicBezTo>
                <a:cubicBezTo>
                  <a:pt x="104483" y="520102"/>
                  <a:pt x="96964" y="523304"/>
                  <a:pt x="109538" y="519113"/>
                </a:cubicBezTo>
                <a:cubicBezTo>
                  <a:pt x="111919" y="517525"/>
                  <a:pt x="114893" y="516585"/>
                  <a:pt x="116681" y="514350"/>
                </a:cubicBezTo>
                <a:cubicBezTo>
                  <a:pt x="125917" y="502805"/>
                  <a:pt x="110622" y="510022"/>
                  <a:pt x="126206" y="504825"/>
                </a:cubicBezTo>
                <a:cubicBezTo>
                  <a:pt x="129720" y="499555"/>
                  <a:pt x="132614" y="494204"/>
                  <a:pt x="138113" y="490538"/>
                </a:cubicBezTo>
                <a:cubicBezTo>
                  <a:pt x="140201" y="489146"/>
                  <a:pt x="142949" y="489146"/>
                  <a:pt x="145256" y="488157"/>
                </a:cubicBezTo>
                <a:cubicBezTo>
                  <a:pt x="156646" y="483275"/>
                  <a:pt x="151682" y="483807"/>
                  <a:pt x="161925" y="481013"/>
                </a:cubicBezTo>
                <a:cubicBezTo>
                  <a:pt x="168240" y="479291"/>
                  <a:pt x="180975" y="476250"/>
                  <a:pt x="180975" y="476250"/>
                </a:cubicBezTo>
                <a:cubicBezTo>
                  <a:pt x="182563" y="473869"/>
                  <a:pt x="184458" y="471667"/>
                  <a:pt x="185738" y="469107"/>
                </a:cubicBezTo>
                <a:cubicBezTo>
                  <a:pt x="190571" y="459441"/>
                  <a:pt x="189008" y="444221"/>
                  <a:pt x="190500" y="435769"/>
                </a:cubicBezTo>
                <a:cubicBezTo>
                  <a:pt x="191372" y="430825"/>
                  <a:pt x="193675" y="426244"/>
                  <a:pt x="195263" y="421482"/>
                </a:cubicBezTo>
                <a:lnTo>
                  <a:pt x="197644" y="414338"/>
                </a:lnTo>
                <a:cubicBezTo>
                  <a:pt x="199581" y="408526"/>
                  <a:pt x="200171" y="404667"/>
                  <a:pt x="204788" y="400050"/>
                </a:cubicBezTo>
                <a:cubicBezTo>
                  <a:pt x="206811" y="398027"/>
                  <a:pt x="209550" y="396875"/>
                  <a:pt x="211931" y="395288"/>
                </a:cubicBezTo>
                <a:cubicBezTo>
                  <a:pt x="212725" y="392907"/>
                  <a:pt x="212745" y="390104"/>
                  <a:pt x="214313" y="388144"/>
                </a:cubicBezTo>
                <a:cubicBezTo>
                  <a:pt x="216101" y="385909"/>
                  <a:pt x="219127" y="385045"/>
                  <a:pt x="221456" y="383382"/>
                </a:cubicBezTo>
                <a:cubicBezTo>
                  <a:pt x="224686" y="381075"/>
                  <a:pt x="228175" y="379044"/>
                  <a:pt x="230981" y="376238"/>
                </a:cubicBezTo>
                <a:cubicBezTo>
                  <a:pt x="233005" y="374214"/>
                  <a:pt x="233317" y="370611"/>
                  <a:pt x="235744" y="369094"/>
                </a:cubicBezTo>
                <a:cubicBezTo>
                  <a:pt x="242552" y="364839"/>
                  <a:pt x="254235" y="363876"/>
                  <a:pt x="261938" y="361950"/>
                </a:cubicBezTo>
                <a:cubicBezTo>
                  <a:pt x="273906" y="358958"/>
                  <a:pt x="264587" y="360626"/>
                  <a:pt x="276225" y="354807"/>
                </a:cubicBezTo>
                <a:cubicBezTo>
                  <a:pt x="283570" y="351134"/>
                  <a:pt x="295842" y="350866"/>
                  <a:pt x="302419" y="350044"/>
                </a:cubicBezTo>
                <a:cubicBezTo>
                  <a:pt x="319574" y="344326"/>
                  <a:pt x="298123" y="351273"/>
                  <a:pt x="319088" y="345282"/>
                </a:cubicBezTo>
                <a:cubicBezTo>
                  <a:pt x="321501" y="344592"/>
                  <a:pt x="323796" y="343509"/>
                  <a:pt x="326231" y="342900"/>
                </a:cubicBezTo>
                <a:cubicBezTo>
                  <a:pt x="330158" y="341918"/>
                  <a:pt x="334194" y="341429"/>
                  <a:pt x="338138" y="340519"/>
                </a:cubicBezTo>
                <a:cubicBezTo>
                  <a:pt x="344516" y="339047"/>
                  <a:pt x="350979" y="337828"/>
                  <a:pt x="357188" y="335757"/>
                </a:cubicBezTo>
                <a:cubicBezTo>
                  <a:pt x="359569" y="334963"/>
                  <a:pt x="361843" y="333707"/>
                  <a:pt x="364331" y="333375"/>
                </a:cubicBezTo>
                <a:cubicBezTo>
                  <a:pt x="376460" y="331758"/>
                  <a:pt x="422144" y="329167"/>
                  <a:pt x="431006" y="328613"/>
                </a:cubicBezTo>
                <a:cubicBezTo>
                  <a:pt x="431091" y="328592"/>
                  <a:pt x="446535" y="324990"/>
                  <a:pt x="447675" y="323850"/>
                </a:cubicBezTo>
                <a:cubicBezTo>
                  <a:pt x="449450" y="322075"/>
                  <a:pt x="449262" y="319088"/>
                  <a:pt x="450056" y="316707"/>
                </a:cubicBezTo>
                <a:cubicBezTo>
                  <a:pt x="448883" y="314361"/>
                  <a:pt x="443337" y="302283"/>
                  <a:pt x="440531" y="300038"/>
                </a:cubicBezTo>
                <a:cubicBezTo>
                  <a:pt x="438571" y="298470"/>
                  <a:pt x="435769" y="298451"/>
                  <a:pt x="433388" y="297657"/>
                </a:cubicBezTo>
                <a:cubicBezTo>
                  <a:pt x="431800" y="295276"/>
                  <a:pt x="430649" y="292537"/>
                  <a:pt x="428625" y="290513"/>
                </a:cubicBezTo>
                <a:cubicBezTo>
                  <a:pt x="426601" y="288489"/>
                  <a:pt x="423680" y="287582"/>
                  <a:pt x="421481" y="285750"/>
                </a:cubicBezTo>
                <a:cubicBezTo>
                  <a:pt x="418894" y="283594"/>
                  <a:pt x="416719" y="280988"/>
                  <a:pt x="414338" y="278607"/>
                </a:cubicBezTo>
                <a:cubicBezTo>
                  <a:pt x="418763" y="256477"/>
                  <a:pt x="412312" y="256149"/>
                  <a:pt x="428625" y="250032"/>
                </a:cubicBezTo>
                <a:cubicBezTo>
                  <a:pt x="431689" y="248883"/>
                  <a:pt x="434975" y="248444"/>
                  <a:pt x="438150" y="247650"/>
                </a:cubicBezTo>
                <a:cubicBezTo>
                  <a:pt x="459342" y="249577"/>
                  <a:pt x="478578" y="252705"/>
                  <a:pt x="500063" y="247650"/>
                </a:cubicBezTo>
                <a:cubicBezTo>
                  <a:pt x="502849" y="246995"/>
                  <a:pt x="503238" y="242888"/>
                  <a:pt x="504825" y="240507"/>
                </a:cubicBezTo>
                <a:cubicBezTo>
                  <a:pt x="502467" y="233432"/>
                  <a:pt x="500961" y="224736"/>
                  <a:pt x="495300" y="219075"/>
                </a:cubicBezTo>
                <a:cubicBezTo>
                  <a:pt x="493276" y="217051"/>
                  <a:pt x="490537" y="215900"/>
                  <a:pt x="488156" y="214313"/>
                </a:cubicBezTo>
                <a:cubicBezTo>
                  <a:pt x="486569" y="211932"/>
                  <a:pt x="485821" y="208686"/>
                  <a:pt x="483394" y="207169"/>
                </a:cubicBezTo>
                <a:cubicBezTo>
                  <a:pt x="478220" y="203935"/>
                  <a:pt x="466010" y="201954"/>
                  <a:pt x="459581" y="200025"/>
                </a:cubicBezTo>
                <a:cubicBezTo>
                  <a:pt x="454773" y="198582"/>
                  <a:pt x="450056" y="196850"/>
                  <a:pt x="445294" y="195263"/>
                </a:cubicBezTo>
                <a:lnTo>
                  <a:pt x="438150" y="192882"/>
                </a:lnTo>
                <a:cubicBezTo>
                  <a:pt x="433388" y="189707"/>
                  <a:pt x="429293" y="185167"/>
                  <a:pt x="423863" y="183357"/>
                </a:cubicBezTo>
                <a:lnTo>
                  <a:pt x="409575" y="178594"/>
                </a:lnTo>
                <a:cubicBezTo>
                  <a:pt x="408781" y="176213"/>
                  <a:pt x="406883" y="173941"/>
                  <a:pt x="407194" y="171450"/>
                </a:cubicBezTo>
                <a:cubicBezTo>
                  <a:pt x="407681" y="167551"/>
                  <a:pt x="413159" y="155960"/>
                  <a:pt x="416719" y="152400"/>
                </a:cubicBezTo>
                <a:cubicBezTo>
                  <a:pt x="418743" y="150376"/>
                  <a:pt x="421664" y="149470"/>
                  <a:pt x="423863" y="147638"/>
                </a:cubicBezTo>
                <a:cubicBezTo>
                  <a:pt x="426450" y="145482"/>
                  <a:pt x="428266" y="142451"/>
                  <a:pt x="431006" y="140494"/>
                </a:cubicBezTo>
                <a:cubicBezTo>
                  <a:pt x="433894" y="138431"/>
                  <a:pt x="437235" y="137050"/>
                  <a:pt x="440531" y="135732"/>
                </a:cubicBezTo>
                <a:cubicBezTo>
                  <a:pt x="445192" y="133868"/>
                  <a:pt x="454819" y="130969"/>
                  <a:pt x="454819" y="130969"/>
                </a:cubicBezTo>
                <a:cubicBezTo>
                  <a:pt x="469106" y="131763"/>
                  <a:pt x="483425" y="132110"/>
                  <a:pt x="497681" y="133350"/>
                </a:cubicBezTo>
                <a:cubicBezTo>
                  <a:pt x="503574" y="133862"/>
                  <a:pt x="513119" y="136781"/>
                  <a:pt x="519113" y="138113"/>
                </a:cubicBezTo>
                <a:cubicBezTo>
                  <a:pt x="536354" y="141944"/>
                  <a:pt x="525397" y="138620"/>
                  <a:pt x="538163" y="142875"/>
                </a:cubicBezTo>
                <a:cubicBezTo>
                  <a:pt x="546100" y="142081"/>
                  <a:pt x="554351" y="142840"/>
                  <a:pt x="561975" y="140494"/>
                </a:cubicBezTo>
                <a:cubicBezTo>
                  <a:pt x="565194" y="139504"/>
                  <a:pt x="567484" y="136294"/>
                  <a:pt x="569119" y="133350"/>
                </a:cubicBezTo>
                <a:cubicBezTo>
                  <a:pt x="572439" y="127375"/>
                  <a:pt x="575091" y="114188"/>
                  <a:pt x="576263" y="107157"/>
                </a:cubicBezTo>
                <a:cubicBezTo>
                  <a:pt x="577186" y="101621"/>
                  <a:pt x="576629" y="95727"/>
                  <a:pt x="578644" y="90488"/>
                </a:cubicBezTo>
                <a:cubicBezTo>
                  <a:pt x="580699" y="85146"/>
                  <a:pt x="584994" y="80963"/>
                  <a:pt x="588169" y="76200"/>
                </a:cubicBezTo>
                <a:lnTo>
                  <a:pt x="592931" y="69057"/>
                </a:lnTo>
                <a:lnTo>
                  <a:pt x="628650" y="71438"/>
                </a:lnTo>
                <a:cubicBezTo>
                  <a:pt x="634021" y="73417"/>
                  <a:pt x="632745" y="83915"/>
                  <a:pt x="638175" y="85725"/>
                </a:cubicBezTo>
                <a:lnTo>
                  <a:pt x="645319" y="88107"/>
                </a:lnTo>
                <a:cubicBezTo>
                  <a:pt x="669131" y="87313"/>
                  <a:pt x="693055" y="88156"/>
                  <a:pt x="716756" y="85725"/>
                </a:cubicBezTo>
                <a:cubicBezTo>
                  <a:pt x="724247" y="84957"/>
                  <a:pt x="738188" y="78582"/>
                  <a:pt x="738188" y="78582"/>
                </a:cubicBezTo>
                <a:cubicBezTo>
                  <a:pt x="740569" y="76994"/>
                  <a:pt x="742716" y="74981"/>
                  <a:pt x="745331" y="73819"/>
                </a:cubicBezTo>
                <a:cubicBezTo>
                  <a:pt x="755213" y="69427"/>
                  <a:pt x="761344" y="68712"/>
                  <a:pt x="771525" y="66675"/>
                </a:cubicBezTo>
                <a:cubicBezTo>
                  <a:pt x="773906" y="65088"/>
                  <a:pt x="776038" y="63040"/>
                  <a:pt x="778669" y="61913"/>
                </a:cubicBezTo>
                <a:cubicBezTo>
                  <a:pt x="781677" y="60624"/>
                  <a:pt x="785047" y="60431"/>
                  <a:pt x="788194" y="59532"/>
                </a:cubicBezTo>
                <a:cubicBezTo>
                  <a:pt x="790608" y="58842"/>
                  <a:pt x="792924" y="57840"/>
                  <a:pt x="795338" y="57150"/>
                </a:cubicBezTo>
                <a:cubicBezTo>
                  <a:pt x="798485" y="56251"/>
                  <a:pt x="801758" y="55804"/>
                  <a:pt x="804863" y="54769"/>
                </a:cubicBezTo>
                <a:cubicBezTo>
                  <a:pt x="808918" y="53417"/>
                  <a:pt x="812946" y="51919"/>
                  <a:pt x="816769" y="50007"/>
                </a:cubicBezTo>
                <a:cubicBezTo>
                  <a:pt x="828409" y="44187"/>
                  <a:pt x="819086" y="45855"/>
                  <a:pt x="831056" y="42863"/>
                </a:cubicBezTo>
                <a:cubicBezTo>
                  <a:pt x="834983" y="41881"/>
                  <a:pt x="839036" y="41464"/>
                  <a:pt x="842963" y="40482"/>
                </a:cubicBezTo>
                <a:cubicBezTo>
                  <a:pt x="845398" y="39873"/>
                  <a:pt x="847685" y="38760"/>
                  <a:pt x="850106" y="38100"/>
                </a:cubicBezTo>
                <a:cubicBezTo>
                  <a:pt x="850128" y="38094"/>
                  <a:pt x="873907" y="32151"/>
                  <a:pt x="878681" y="30957"/>
                </a:cubicBezTo>
                <a:cubicBezTo>
                  <a:pt x="881856" y="30163"/>
                  <a:pt x="885101" y="29610"/>
                  <a:pt x="888206" y="28575"/>
                </a:cubicBezTo>
                <a:cubicBezTo>
                  <a:pt x="890587" y="27781"/>
                  <a:pt x="892936" y="26884"/>
                  <a:pt x="895350" y="26194"/>
                </a:cubicBezTo>
                <a:cubicBezTo>
                  <a:pt x="912485" y="21299"/>
                  <a:pt x="897110" y="26350"/>
                  <a:pt x="916781" y="21432"/>
                </a:cubicBezTo>
                <a:cubicBezTo>
                  <a:pt x="928747" y="18440"/>
                  <a:pt x="919434" y="20105"/>
                  <a:pt x="931069" y="14288"/>
                </a:cubicBezTo>
                <a:cubicBezTo>
                  <a:pt x="934892" y="12376"/>
                  <a:pt x="938828" y="10562"/>
                  <a:pt x="942975" y="9525"/>
                </a:cubicBezTo>
                <a:cubicBezTo>
                  <a:pt x="948420" y="8164"/>
                  <a:pt x="954088" y="7938"/>
                  <a:pt x="959644" y="7144"/>
                </a:cubicBezTo>
                <a:cubicBezTo>
                  <a:pt x="989010" y="-2644"/>
                  <a:pt x="968917" y="2633"/>
                  <a:pt x="1021556" y="0"/>
                </a:cubicBezTo>
                <a:lnTo>
                  <a:pt x="1035844" y="2382"/>
                </a:lnTo>
                <a:cubicBezTo>
                  <a:pt x="1039216" y="10475"/>
                  <a:pt x="1035182" y="19978"/>
                  <a:pt x="1033463" y="28575"/>
                </a:cubicBezTo>
                <a:cubicBezTo>
                  <a:pt x="1032663" y="32576"/>
                  <a:pt x="1026167" y="53076"/>
                  <a:pt x="1021556" y="59532"/>
                </a:cubicBezTo>
                <a:cubicBezTo>
                  <a:pt x="1019599" y="62272"/>
                  <a:pt x="1017215" y="64807"/>
                  <a:pt x="1014413" y="66675"/>
                </a:cubicBezTo>
                <a:cubicBezTo>
                  <a:pt x="1012324" y="68067"/>
                  <a:pt x="1009650" y="68263"/>
                  <a:pt x="1007269" y="69057"/>
                </a:cubicBezTo>
                <a:cubicBezTo>
                  <a:pt x="997512" y="76374"/>
                  <a:pt x="987972" y="83867"/>
                  <a:pt x="976313" y="88107"/>
                </a:cubicBezTo>
                <a:cubicBezTo>
                  <a:pt x="972509" y="89490"/>
                  <a:pt x="968357" y="89610"/>
                  <a:pt x="964406" y="90488"/>
                </a:cubicBezTo>
                <a:cubicBezTo>
                  <a:pt x="961211" y="91198"/>
                  <a:pt x="958056" y="92075"/>
                  <a:pt x="954881" y="92869"/>
                </a:cubicBezTo>
                <a:cubicBezTo>
                  <a:pt x="952500" y="94457"/>
                  <a:pt x="949526" y="95397"/>
                  <a:pt x="947738" y="97632"/>
                </a:cubicBezTo>
                <a:cubicBezTo>
                  <a:pt x="942326" y="104397"/>
                  <a:pt x="947249" y="119520"/>
                  <a:pt x="950119" y="123825"/>
                </a:cubicBezTo>
                <a:cubicBezTo>
                  <a:pt x="956995" y="134138"/>
                  <a:pt x="966416" y="133258"/>
                  <a:pt x="976313" y="135732"/>
                </a:cubicBezTo>
                <a:cubicBezTo>
                  <a:pt x="978748" y="136341"/>
                  <a:pt x="981075" y="137319"/>
                  <a:pt x="983456" y="138113"/>
                </a:cubicBezTo>
                <a:cubicBezTo>
                  <a:pt x="1000919" y="137319"/>
                  <a:pt x="1018583" y="138494"/>
                  <a:pt x="1035844" y="135732"/>
                </a:cubicBezTo>
                <a:cubicBezTo>
                  <a:pt x="1039169" y="135200"/>
                  <a:pt x="1040832" y="131175"/>
                  <a:pt x="1042988" y="128588"/>
                </a:cubicBezTo>
                <a:cubicBezTo>
                  <a:pt x="1044820" y="126389"/>
                  <a:pt x="1046470" y="124004"/>
                  <a:pt x="1047750" y="121444"/>
                </a:cubicBezTo>
                <a:cubicBezTo>
                  <a:pt x="1050626" y="115691"/>
                  <a:pt x="1049205" y="111708"/>
                  <a:pt x="1054894" y="107157"/>
                </a:cubicBezTo>
                <a:cubicBezTo>
                  <a:pt x="1056854" y="105589"/>
                  <a:pt x="1059657" y="105569"/>
                  <a:pt x="1062038" y="104775"/>
                </a:cubicBezTo>
                <a:cubicBezTo>
                  <a:pt x="1066800" y="105569"/>
                  <a:pt x="1071778" y="105533"/>
                  <a:pt x="1076325" y="107157"/>
                </a:cubicBezTo>
                <a:cubicBezTo>
                  <a:pt x="1083011" y="109545"/>
                  <a:pt x="1088640" y="114437"/>
                  <a:pt x="1095375" y="116682"/>
                </a:cubicBezTo>
                <a:lnTo>
                  <a:pt x="1102519" y="119063"/>
                </a:lnTo>
                <a:cubicBezTo>
                  <a:pt x="1105756" y="121491"/>
                  <a:pt x="1114927" y="128645"/>
                  <a:pt x="1119188" y="130969"/>
                </a:cubicBezTo>
                <a:cubicBezTo>
                  <a:pt x="1125421" y="134369"/>
                  <a:pt x="1138238" y="140494"/>
                  <a:pt x="1138238" y="140494"/>
                </a:cubicBezTo>
                <a:cubicBezTo>
                  <a:pt x="1164473" y="138854"/>
                  <a:pt x="1175154" y="147627"/>
                  <a:pt x="1185863" y="126207"/>
                </a:cubicBezTo>
                <a:cubicBezTo>
                  <a:pt x="1187673" y="122587"/>
                  <a:pt x="1187450" y="118269"/>
                  <a:pt x="1188244" y="114300"/>
                </a:cubicBezTo>
                <a:cubicBezTo>
                  <a:pt x="1186896" y="99470"/>
                  <a:pt x="1186117" y="85932"/>
                  <a:pt x="1183481" y="71438"/>
                </a:cubicBezTo>
                <a:cubicBezTo>
                  <a:pt x="1182896" y="68218"/>
                  <a:pt x="1181810" y="65108"/>
                  <a:pt x="1181100" y="61913"/>
                </a:cubicBezTo>
                <a:cubicBezTo>
                  <a:pt x="1180222" y="57962"/>
                  <a:pt x="1179513" y="53976"/>
                  <a:pt x="1178719" y="50007"/>
                </a:cubicBezTo>
                <a:cubicBezTo>
                  <a:pt x="1179513" y="46832"/>
                  <a:pt x="1179056" y="43038"/>
                  <a:pt x="1181100" y="40482"/>
                </a:cubicBezTo>
                <a:cubicBezTo>
                  <a:pt x="1182668" y="38522"/>
                  <a:pt x="1185734" y="38100"/>
                  <a:pt x="1188244" y="38100"/>
                </a:cubicBezTo>
                <a:cubicBezTo>
                  <a:pt x="1200177" y="38100"/>
                  <a:pt x="1212057" y="39688"/>
                  <a:pt x="1223963" y="40482"/>
                </a:cubicBezTo>
                <a:cubicBezTo>
                  <a:pt x="1227138" y="41276"/>
                  <a:pt x="1230253" y="42365"/>
                  <a:pt x="1233488" y="42863"/>
                </a:cubicBezTo>
                <a:cubicBezTo>
                  <a:pt x="1240592" y="43956"/>
                  <a:pt x="1248245" y="42575"/>
                  <a:pt x="1254919" y="45244"/>
                </a:cubicBezTo>
                <a:cubicBezTo>
                  <a:pt x="1257250" y="46176"/>
                  <a:pt x="1256756" y="49938"/>
                  <a:pt x="1257300" y="52388"/>
                </a:cubicBezTo>
                <a:cubicBezTo>
                  <a:pt x="1258347" y="57101"/>
                  <a:pt x="1258817" y="61925"/>
                  <a:pt x="1259681" y="66675"/>
                </a:cubicBezTo>
                <a:cubicBezTo>
                  <a:pt x="1260405" y="70657"/>
                  <a:pt x="1260055" y="75068"/>
                  <a:pt x="1262063" y="78582"/>
                </a:cubicBezTo>
                <a:cubicBezTo>
                  <a:pt x="1264235" y="82384"/>
                  <a:pt x="1272683" y="84503"/>
                  <a:pt x="1276350" y="85725"/>
                </a:cubicBezTo>
                <a:cubicBezTo>
                  <a:pt x="1285875" y="84931"/>
                  <a:pt x="1295441" y="84529"/>
                  <a:pt x="1304925" y="83344"/>
                </a:cubicBezTo>
                <a:cubicBezTo>
                  <a:pt x="1308172" y="82938"/>
                  <a:pt x="1311177" y="80963"/>
                  <a:pt x="1314450" y="80963"/>
                </a:cubicBezTo>
                <a:cubicBezTo>
                  <a:pt x="1321638" y="80963"/>
                  <a:pt x="1328737" y="82550"/>
                  <a:pt x="1335881" y="83344"/>
                </a:cubicBezTo>
                <a:cubicBezTo>
                  <a:pt x="1342231" y="84932"/>
                  <a:pt x="1349695" y="84180"/>
                  <a:pt x="1354931" y="88107"/>
                </a:cubicBezTo>
                <a:lnTo>
                  <a:pt x="1373981" y="102394"/>
                </a:lnTo>
                <a:cubicBezTo>
                  <a:pt x="1375569" y="107157"/>
                  <a:pt x="1379728" y="111759"/>
                  <a:pt x="1378744" y="116682"/>
                </a:cubicBezTo>
                <a:cubicBezTo>
                  <a:pt x="1377950" y="120651"/>
                  <a:pt x="1377784" y="124798"/>
                  <a:pt x="1376363" y="128588"/>
                </a:cubicBezTo>
                <a:cubicBezTo>
                  <a:pt x="1375358" y="131268"/>
                  <a:pt x="1373020" y="133247"/>
                  <a:pt x="1371600" y="135732"/>
                </a:cubicBezTo>
                <a:cubicBezTo>
                  <a:pt x="1364179" y="148719"/>
                  <a:pt x="1368968" y="144976"/>
                  <a:pt x="1357313" y="159544"/>
                </a:cubicBezTo>
                <a:cubicBezTo>
                  <a:pt x="1354508" y="163050"/>
                  <a:pt x="1351294" y="166264"/>
                  <a:pt x="1347788" y="169069"/>
                </a:cubicBezTo>
                <a:cubicBezTo>
                  <a:pt x="1343318" y="172645"/>
                  <a:pt x="1333500" y="178594"/>
                  <a:pt x="1333500" y="178594"/>
                </a:cubicBezTo>
                <a:cubicBezTo>
                  <a:pt x="1331093" y="182204"/>
                  <a:pt x="1326356" y="187955"/>
                  <a:pt x="1326356" y="192882"/>
                </a:cubicBezTo>
                <a:cubicBezTo>
                  <a:pt x="1326356" y="198921"/>
                  <a:pt x="1327751" y="209714"/>
                  <a:pt x="1333500" y="214313"/>
                </a:cubicBezTo>
                <a:cubicBezTo>
                  <a:pt x="1335460" y="215881"/>
                  <a:pt x="1338337" y="215705"/>
                  <a:pt x="1340644" y="216694"/>
                </a:cubicBezTo>
                <a:cubicBezTo>
                  <a:pt x="1343907" y="218092"/>
                  <a:pt x="1347087" y="219696"/>
                  <a:pt x="1350169" y="221457"/>
                </a:cubicBezTo>
                <a:cubicBezTo>
                  <a:pt x="1352654" y="222877"/>
                  <a:pt x="1354633" y="225214"/>
                  <a:pt x="1357313" y="226219"/>
                </a:cubicBezTo>
                <a:cubicBezTo>
                  <a:pt x="1361103" y="227640"/>
                  <a:pt x="1365268" y="227722"/>
                  <a:pt x="1369219" y="228600"/>
                </a:cubicBezTo>
                <a:cubicBezTo>
                  <a:pt x="1389848" y="233185"/>
                  <a:pt x="1366419" y="229613"/>
                  <a:pt x="1400175" y="233363"/>
                </a:cubicBezTo>
                <a:cubicBezTo>
                  <a:pt x="1402556" y="234157"/>
                  <a:pt x="1404905" y="235054"/>
                  <a:pt x="1407319" y="235744"/>
                </a:cubicBezTo>
                <a:cubicBezTo>
                  <a:pt x="1410466" y="236643"/>
                  <a:pt x="1413836" y="236836"/>
                  <a:pt x="1416844" y="238125"/>
                </a:cubicBezTo>
                <a:cubicBezTo>
                  <a:pt x="1419475" y="239252"/>
                  <a:pt x="1421659" y="241224"/>
                  <a:pt x="1423988" y="242888"/>
                </a:cubicBezTo>
                <a:cubicBezTo>
                  <a:pt x="1430396" y="247465"/>
                  <a:pt x="1435210" y="249819"/>
                  <a:pt x="1438275" y="257175"/>
                </a:cubicBezTo>
                <a:cubicBezTo>
                  <a:pt x="1448118" y="280799"/>
                  <a:pt x="1442870" y="271698"/>
                  <a:pt x="1447800" y="288132"/>
                </a:cubicBezTo>
                <a:cubicBezTo>
                  <a:pt x="1449243" y="292940"/>
                  <a:pt x="1447693" y="301201"/>
                  <a:pt x="1452563" y="302419"/>
                </a:cubicBezTo>
                <a:cubicBezTo>
                  <a:pt x="1482421" y="309884"/>
                  <a:pt x="1465084" y="306716"/>
                  <a:pt x="1504950" y="309563"/>
                </a:cubicBezTo>
                <a:cubicBezTo>
                  <a:pt x="1517650" y="308769"/>
                  <a:pt x="1530388" y="308448"/>
                  <a:pt x="1543050" y="307182"/>
                </a:cubicBezTo>
                <a:cubicBezTo>
                  <a:pt x="1546307" y="306856"/>
                  <a:pt x="1549440" y="305740"/>
                  <a:pt x="1552575" y="304800"/>
                </a:cubicBezTo>
                <a:cubicBezTo>
                  <a:pt x="1557383" y="303357"/>
                  <a:pt x="1566863" y="300038"/>
                  <a:pt x="1566863" y="300038"/>
                </a:cubicBezTo>
                <a:cubicBezTo>
                  <a:pt x="1582503" y="300527"/>
                  <a:pt x="1636967" y="300212"/>
                  <a:pt x="1664494" y="304800"/>
                </a:cubicBezTo>
                <a:cubicBezTo>
                  <a:pt x="1666970" y="305213"/>
                  <a:pt x="1669393" y="306059"/>
                  <a:pt x="1671638" y="307182"/>
                </a:cubicBezTo>
                <a:cubicBezTo>
                  <a:pt x="1677389" y="310057"/>
                  <a:pt x="1685017" y="315307"/>
                  <a:pt x="1690688" y="319088"/>
                </a:cubicBezTo>
                <a:cubicBezTo>
                  <a:pt x="1692275" y="321469"/>
                  <a:pt x="1694170" y="323672"/>
                  <a:pt x="1695450" y="326232"/>
                </a:cubicBezTo>
                <a:cubicBezTo>
                  <a:pt x="1699323" y="333979"/>
                  <a:pt x="1695769" y="333694"/>
                  <a:pt x="1702594" y="340519"/>
                </a:cubicBezTo>
                <a:cubicBezTo>
                  <a:pt x="1704618" y="342543"/>
                  <a:pt x="1707357" y="343694"/>
                  <a:pt x="1709738" y="345282"/>
                </a:cubicBezTo>
                <a:cubicBezTo>
                  <a:pt x="1718421" y="371330"/>
                  <a:pt x="1704573" y="331876"/>
                  <a:pt x="1716881" y="359569"/>
                </a:cubicBezTo>
                <a:cubicBezTo>
                  <a:pt x="1718920" y="364157"/>
                  <a:pt x="1720056" y="369094"/>
                  <a:pt x="1721644" y="373857"/>
                </a:cubicBezTo>
                <a:cubicBezTo>
                  <a:pt x="1725059" y="384103"/>
                  <a:pt x="1723417" y="378568"/>
                  <a:pt x="1726406" y="390525"/>
                </a:cubicBezTo>
                <a:cubicBezTo>
                  <a:pt x="1724926" y="417171"/>
                  <a:pt x="1730152" y="425491"/>
                  <a:pt x="1719263" y="442913"/>
                </a:cubicBezTo>
                <a:cubicBezTo>
                  <a:pt x="1717160" y="446279"/>
                  <a:pt x="1714925" y="449632"/>
                  <a:pt x="1712119" y="452438"/>
                </a:cubicBezTo>
                <a:cubicBezTo>
                  <a:pt x="1709313" y="455244"/>
                  <a:pt x="1705581" y="456969"/>
                  <a:pt x="1702594" y="459582"/>
                </a:cubicBezTo>
                <a:cubicBezTo>
                  <a:pt x="1688687" y="471751"/>
                  <a:pt x="1698786" y="467202"/>
                  <a:pt x="1685925" y="471488"/>
                </a:cubicBezTo>
                <a:cubicBezTo>
                  <a:pt x="1682750" y="473869"/>
                  <a:pt x="1679846" y="476663"/>
                  <a:pt x="1676400" y="478632"/>
                </a:cubicBezTo>
                <a:cubicBezTo>
                  <a:pt x="1672458" y="480884"/>
                  <a:pt x="1660363" y="482791"/>
                  <a:pt x="1657350" y="483394"/>
                </a:cubicBezTo>
                <a:cubicBezTo>
                  <a:pt x="1652588" y="486569"/>
                  <a:pt x="1648066" y="490139"/>
                  <a:pt x="1643063" y="492919"/>
                </a:cubicBezTo>
                <a:cubicBezTo>
                  <a:pt x="1640869" y="494138"/>
                  <a:pt x="1638410" y="494989"/>
                  <a:pt x="1635919" y="495300"/>
                </a:cubicBezTo>
                <a:cubicBezTo>
                  <a:pt x="1619304" y="497377"/>
                  <a:pt x="1602528" y="497986"/>
                  <a:pt x="1585913" y="500063"/>
                </a:cubicBezTo>
                <a:lnTo>
                  <a:pt x="1566863" y="502444"/>
                </a:lnTo>
                <a:lnTo>
                  <a:pt x="1545431" y="509588"/>
                </a:lnTo>
                <a:cubicBezTo>
                  <a:pt x="1543050" y="510382"/>
                  <a:pt x="1540773" y="511614"/>
                  <a:pt x="1538288" y="511969"/>
                </a:cubicBezTo>
                <a:lnTo>
                  <a:pt x="1521619" y="514350"/>
                </a:lnTo>
                <a:cubicBezTo>
                  <a:pt x="1515101" y="518696"/>
                  <a:pt x="1513056" y="518736"/>
                  <a:pt x="1509713" y="526257"/>
                </a:cubicBezTo>
                <a:cubicBezTo>
                  <a:pt x="1507674" y="530844"/>
                  <a:pt x="1504950" y="540544"/>
                  <a:pt x="1504950" y="540544"/>
                </a:cubicBezTo>
                <a:cubicBezTo>
                  <a:pt x="1505559" y="547248"/>
                  <a:pt x="1505130" y="564717"/>
                  <a:pt x="1509713" y="573882"/>
                </a:cubicBezTo>
                <a:cubicBezTo>
                  <a:pt x="1510993" y="576441"/>
                  <a:pt x="1512613" y="578852"/>
                  <a:pt x="1514475" y="581025"/>
                </a:cubicBezTo>
                <a:cubicBezTo>
                  <a:pt x="1517397" y="584434"/>
                  <a:pt x="1520591" y="587628"/>
                  <a:pt x="1524000" y="590550"/>
                </a:cubicBezTo>
                <a:cubicBezTo>
                  <a:pt x="1526173" y="592413"/>
                  <a:pt x="1528545" y="594114"/>
                  <a:pt x="1531144" y="595313"/>
                </a:cubicBezTo>
                <a:cubicBezTo>
                  <a:pt x="1538906" y="598896"/>
                  <a:pt x="1554956" y="604838"/>
                  <a:pt x="1554956" y="604838"/>
                </a:cubicBezTo>
                <a:cubicBezTo>
                  <a:pt x="1570831" y="604044"/>
                  <a:pt x="1586737" y="603725"/>
                  <a:pt x="1602581" y="602457"/>
                </a:cubicBezTo>
                <a:cubicBezTo>
                  <a:pt x="1620538" y="601020"/>
                  <a:pt x="1608615" y="600445"/>
                  <a:pt x="1624013" y="595313"/>
                </a:cubicBezTo>
                <a:cubicBezTo>
                  <a:pt x="1627853" y="594033"/>
                  <a:pt x="1631968" y="593810"/>
                  <a:pt x="1635919" y="592932"/>
                </a:cubicBezTo>
                <a:cubicBezTo>
                  <a:pt x="1639114" y="592222"/>
                  <a:pt x="1642269" y="591344"/>
                  <a:pt x="1645444" y="590550"/>
                </a:cubicBezTo>
                <a:cubicBezTo>
                  <a:pt x="1650206" y="585788"/>
                  <a:pt x="1653478" y="578764"/>
                  <a:pt x="1659731" y="576263"/>
                </a:cubicBezTo>
                <a:cubicBezTo>
                  <a:pt x="1668863" y="572610"/>
                  <a:pt x="1676314" y="569359"/>
                  <a:pt x="1685925" y="566738"/>
                </a:cubicBezTo>
                <a:cubicBezTo>
                  <a:pt x="1689830" y="565673"/>
                  <a:pt x="1693905" y="565339"/>
                  <a:pt x="1697831" y="564357"/>
                </a:cubicBezTo>
                <a:cubicBezTo>
                  <a:pt x="1706872" y="562096"/>
                  <a:pt x="1714983" y="557093"/>
                  <a:pt x="1724025" y="554832"/>
                </a:cubicBezTo>
                <a:cubicBezTo>
                  <a:pt x="1727951" y="553850"/>
                  <a:pt x="1732005" y="553432"/>
                  <a:pt x="1735931" y="552450"/>
                </a:cubicBezTo>
                <a:cubicBezTo>
                  <a:pt x="1738366" y="551841"/>
                  <a:pt x="1740653" y="550729"/>
                  <a:pt x="1743075" y="550069"/>
                </a:cubicBezTo>
                <a:cubicBezTo>
                  <a:pt x="1749390" y="548347"/>
                  <a:pt x="1762125" y="545307"/>
                  <a:pt x="1762125" y="545307"/>
                </a:cubicBezTo>
                <a:cubicBezTo>
                  <a:pt x="1783420" y="534659"/>
                  <a:pt x="1774440" y="538028"/>
                  <a:pt x="1788319" y="533400"/>
                </a:cubicBezTo>
                <a:cubicBezTo>
                  <a:pt x="1809750" y="534194"/>
                  <a:pt x="1831255" y="533840"/>
                  <a:pt x="1852613" y="535782"/>
                </a:cubicBezTo>
                <a:cubicBezTo>
                  <a:pt x="1860126" y="536465"/>
                  <a:pt x="1871461" y="543304"/>
                  <a:pt x="1878806" y="545307"/>
                </a:cubicBezTo>
                <a:cubicBezTo>
                  <a:pt x="1883464" y="546577"/>
                  <a:pt x="1888410" y="546517"/>
                  <a:pt x="1893094" y="547688"/>
                </a:cubicBezTo>
                <a:cubicBezTo>
                  <a:pt x="1897964" y="548905"/>
                  <a:pt x="1902619" y="550863"/>
                  <a:pt x="1907381" y="552450"/>
                </a:cubicBezTo>
                <a:cubicBezTo>
                  <a:pt x="1909762" y="553244"/>
                  <a:pt x="1912436" y="553440"/>
                  <a:pt x="1914525" y="554832"/>
                </a:cubicBezTo>
                <a:lnTo>
                  <a:pt x="1921669" y="559594"/>
                </a:lnTo>
                <a:cubicBezTo>
                  <a:pt x="1920875" y="580232"/>
                  <a:pt x="1921413" y="600964"/>
                  <a:pt x="1919288" y="621507"/>
                </a:cubicBezTo>
                <a:cubicBezTo>
                  <a:pt x="1918020" y="633760"/>
                  <a:pt x="1903638" y="623983"/>
                  <a:pt x="1916906" y="642938"/>
                </a:cubicBezTo>
                <a:cubicBezTo>
                  <a:pt x="1920188" y="647627"/>
                  <a:pt x="1925879" y="650337"/>
                  <a:pt x="1931194" y="652463"/>
                </a:cubicBezTo>
                <a:cubicBezTo>
                  <a:pt x="1935163" y="654050"/>
                  <a:pt x="1939194" y="655489"/>
                  <a:pt x="1943100" y="657225"/>
                </a:cubicBezTo>
                <a:cubicBezTo>
                  <a:pt x="1946344" y="658667"/>
                  <a:pt x="1949163" y="661201"/>
                  <a:pt x="1952625" y="661988"/>
                </a:cubicBezTo>
                <a:cubicBezTo>
                  <a:pt x="1966750" y="665198"/>
                  <a:pt x="1981436" y="665619"/>
                  <a:pt x="1995488" y="669132"/>
                </a:cubicBezTo>
                <a:cubicBezTo>
                  <a:pt x="1998663" y="669926"/>
                  <a:pt x="2001878" y="670573"/>
                  <a:pt x="2005013" y="671513"/>
                </a:cubicBezTo>
                <a:cubicBezTo>
                  <a:pt x="2009821" y="672955"/>
                  <a:pt x="2019300" y="676275"/>
                  <a:pt x="2019300" y="676275"/>
                </a:cubicBezTo>
                <a:cubicBezTo>
                  <a:pt x="2021681" y="678656"/>
                  <a:pt x="2023857" y="681263"/>
                  <a:pt x="2026444" y="683419"/>
                </a:cubicBezTo>
                <a:cubicBezTo>
                  <a:pt x="2028643" y="685251"/>
                  <a:pt x="2031564" y="686158"/>
                  <a:pt x="2033588" y="688182"/>
                </a:cubicBezTo>
                <a:cubicBezTo>
                  <a:pt x="2036394" y="690988"/>
                  <a:pt x="2038350" y="694532"/>
                  <a:pt x="2040731" y="697707"/>
                </a:cubicBezTo>
                <a:cubicBezTo>
                  <a:pt x="2046978" y="716441"/>
                  <a:pt x="2045473" y="708979"/>
                  <a:pt x="2040731" y="745332"/>
                </a:cubicBezTo>
                <a:cubicBezTo>
                  <a:pt x="2040082" y="750310"/>
                  <a:pt x="2038754" y="755442"/>
                  <a:pt x="2035969" y="759619"/>
                </a:cubicBezTo>
                <a:lnTo>
                  <a:pt x="2031206" y="766763"/>
                </a:lnTo>
                <a:cubicBezTo>
                  <a:pt x="2031737" y="771008"/>
                  <a:pt x="2031025" y="788379"/>
                  <a:pt x="2038350" y="792957"/>
                </a:cubicBezTo>
                <a:cubicBezTo>
                  <a:pt x="2042607" y="795618"/>
                  <a:pt x="2052638" y="797719"/>
                  <a:pt x="2052638" y="797719"/>
                </a:cubicBezTo>
                <a:cubicBezTo>
                  <a:pt x="2053432" y="800100"/>
                  <a:pt x="2055019" y="802353"/>
                  <a:pt x="2055019" y="804863"/>
                </a:cubicBezTo>
                <a:cubicBezTo>
                  <a:pt x="2055019" y="811262"/>
                  <a:pt x="2053783" y="817617"/>
                  <a:pt x="2052638" y="823913"/>
                </a:cubicBezTo>
                <a:cubicBezTo>
                  <a:pt x="2052189" y="826383"/>
                  <a:pt x="2052031" y="829282"/>
                  <a:pt x="2050256" y="831057"/>
                </a:cubicBezTo>
                <a:cubicBezTo>
                  <a:pt x="2047746" y="833567"/>
                  <a:pt x="2044099" y="834697"/>
                  <a:pt x="2040731" y="835819"/>
                </a:cubicBezTo>
                <a:cubicBezTo>
                  <a:pt x="2028928" y="839753"/>
                  <a:pt x="1998059" y="840252"/>
                  <a:pt x="1993106" y="840582"/>
                </a:cubicBezTo>
                <a:cubicBezTo>
                  <a:pt x="1992312" y="842963"/>
                  <a:pt x="1990725" y="845215"/>
                  <a:pt x="1990725" y="847725"/>
                </a:cubicBezTo>
                <a:cubicBezTo>
                  <a:pt x="1990725" y="855393"/>
                  <a:pt x="1994764" y="855975"/>
                  <a:pt x="2000250" y="859632"/>
                </a:cubicBezTo>
                <a:cubicBezTo>
                  <a:pt x="2012079" y="877372"/>
                  <a:pt x="1996873" y="855578"/>
                  <a:pt x="2012156" y="873919"/>
                </a:cubicBezTo>
                <a:cubicBezTo>
                  <a:pt x="2013988" y="876118"/>
                  <a:pt x="2014895" y="879039"/>
                  <a:pt x="2016919" y="881063"/>
                </a:cubicBezTo>
                <a:cubicBezTo>
                  <a:pt x="2019725" y="883869"/>
                  <a:pt x="2023431" y="885624"/>
                  <a:pt x="2026444" y="888207"/>
                </a:cubicBezTo>
                <a:cubicBezTo>
                  <a:pt x="2029001" y="890398"/>
                  <a:pt x="2031207" y="892969"/>
                  <a:pt x="2033588" y="895350"/>
                </a:cubicBezTo>
                <a:cubicBezTo>
                  <a:pt x="2034382" y="897731"/>
                  <a:pt x="2034847" y="900249"/>
                  <a:pt x="2035969" y="902494"/>
                </a:cubicBezTo>
                <a:cubicBezTo>
                  <a:pt x="2037249" y="905054"/>
                  <a:pt x="2039604" y="907008"/>
                  <a:pt x="2040731" y="909638"/>
                </a:cubicBezTo>
                <a:cubicBezTo>
                  <a:pt x="2042020" y="912646"/>
                  <a:pt x="2042319" y="915988"/>
                  <a:pt x="2043113" y="919163"/>
                </a:cubicBezTo>
                <a:cubicBezTo>
                  <a:pt x="2042319" y="935038"/>
                  <a:pt x="2043705" y="951174"/>
                  <a:pt x="2040731" y="966788"/>
                </a:cubicBezTo>
                <a:cubicBezTo>
                  <a:pt x="2040261" y="969253"/>
                  <a:pt x="2035833" y="968047"/>
                  <a:pt x="2033588" y="969169"/>
                </a:cubicBezTo>
                <a:cubicBezTo>
                  <a:pt x="2031028" y="970449"/>
                  <a:pt x="2029004" y="972652"/>
                  <a:pt x="2026444" y="973932"/>
                </a:cubicBezTo>
                <a:cubicBezTo>
                  <a:pt x="2021564" y="976372"/>
                  <a:pt x="2011920" y="977789"/>
                  <a:pt x="2007394" y="978694"/>
                </a:cubicBezTo>
                <a:cubicBezTo>
                  <a:pt x="1988344" y="977900"/>
                  <a:pt x="1969298" y="975633"/>
                  <a:pt x="1950244" y="976313"/>
                </a:cubicBezTo>
                <a:cubicBezTo>
                  <a:pt x="1946697" y="976440"/>
                  <a:pt x="1943229" y="978565"/>
                  <a:pt x="1940719" y="981075"/>
                </a:cubicBezTo>
                <a:cubicBezTo>
                  <a:pt x="1938944" y="982850"/>
                  <a:pt x="1939132" y="985838"/>
                  <a:pt x="1938338" y="988219"/>
                </a:cubicBezTo>
                <a:cubicBezTo>
                  <a:pt x="1937544" y="993775"/>
                  <a:pt x="1937057" y="999384"/>
                  <a:pt x="1935956" y="1004888"/>
                </a:cubicBezTo>
                <a:cubicBezTo>
                  <a:pt x="1935464" y="1007349"/>
                  <a:pt x="1935350" y="1010257"/>
                  <a:pt x="1933575" y="1012032"/>
                </a:cubicBezTo>
                <a:cubicBezTo>
                  <a:pt x="1931800" y="1013807"/>
                  <a:pt x="1928881" y="1013869"/>
                  <a:pt x="1926431" y="1014413"/>
                </a:cubicBezTo>
                <a:cubicBezTo>
                  <a:pt x="1921718" y="1015460"/>
                  <a:pt x="1916906" y="1016000"/>
                  <a:pt x="1912144" y="1016794"/>
                </a:cubicBezTo>
                <a:cubicBezTo>
                  <a:pt x="1901825" y="1016000"/>
                  <a:pt x="1891380" y="1016212"/>
                  <a:pt x="1881188" y="1014413"/>
                </a:cubicBezTo>
                <a:cubicBezTo>
                  <a:pt x="1877692" y="1013796"/>
                  <a:pt x="1875088" y="1010584"/>
                  <a:pt x="1871663" y="1009650"/>
                </a:cubicBezTo>
                <a:cubicBezTo>
                  <a:pt x="1866248" y="1008173"/>
                  <a:pt x="1860550" y="1008063"/>
                  <a:pt x="1854994" y="1007269"/>
                </a:cubicBezTo>
                <a:cubicBezTo>
                  <a:pt x="1834635" y="1000484"/>
                  <a:pt x="1845687" y="1001884"/>
                  <a:pt x="1821656" y="1004888"/>
                </a:cubicBezTo>
                <a:cubicBezTo>
                  <a:pt x="1819275" y="1005682"/>
                  <a:pt x="1817023" y="1007269"/>
                  <a:pt x="1814513" y="1007269"/>
                </a:cubicBezTo>
                <a:cubicBezTo>
                  <a:pt x="1812159" y="1007269"/>
                  <a:pt x="1791610" y="1003281"/>
                  <a:pt x="1788319" y="1002507"/>
                </a:cubicBezTo>
                <a:cubicBezTo>
                  <a:pt x="1778762" y="1000258"/>
                  <a:pt x="1759744" y="995363"/>
                  <a:pt x="1759744" y="995363"/>
                </a:cubicBezTo>
                <a:cubicBezTo>
                  <a:pt x="1757363" y="992982"/>
                  <a:pt x="1752972" y="991566"/>
                  <a:pt x="1752600" y="988219"/>
                </a:cubicBezTo>
                <a:cubicBezTo>
                  <a:pt x="1750978" y="973620"/>
                  <a:pt x="1754768" y="953776"/>
                  <a:pt x="1757363" y="938213"/>
                </a:cubicBezTo>
                <a:cubicBezTo>
                  <a:pt x="1756569" y="933450"/>
                  <a:pt x="1757512" y="928037"/>
                  <a:pt x="1754981" y="923925"/>
                </a:cubicBezTo>
                <a:cubicBezTo>
                  <a:pt x="1743701" y="905596"/>
                  <a:pt x="1738101" y="908342"/>
                  <a:pt x="1721644" y="900113"/>
                </a:cubicBezTo>
                <a:cubicBezTo>
                  <a:pt x="1719084" y="898833"/>
                  <a:pt x="1717261" y="896103"/>
                  <a:pt x="1714500" y="895350"/>
                </a:cubicBezTo>
                <a:cubicBezTo>
                  <a:pt x="1708326" y="893666"/>
                  <a:pt x="1701800" y="893763"/>
                  <a:pt x="1695450" y="892969"/>
                </a:cubicBezTo>
                <a:cubicBezTo>
                  <a:pt x="1685925" y="893763"/>
                  <a:pt x="1676065" y="892724"/>
                  <a:pt x="1666875" y="895350"/>
                </a:cubicBezTo>
                <a:cubicBezTo>
                  <a:pt x="1664123" y="896136"/>
                  <a:pt x="1664137" y="900470"/>
                  <a:pt x="1662113" y="902494"/>
                </a:cubicBezTo>
                <a:cubicBezTo>
                  <a:pt x="1655416" y="909191"/>
                  <a:pt x="1650261" y="908042"/>
                  <a:pt x="1640681" y="909638"/>
                </a:cubicBezTo>
                <a:lnTo>
                  <a:pt x="1607344" y="907257"/>
                </a:lnTo>
                <a:cubicBezTo>
                  <a:pt x="1600971" y="906678"/>
                  <a:pt x="1594308" y="907062"/>
                  <a:pt x="1588294" y="904875"/>
                </a:cubicBezTo>
                <a:cubicBezTo>
                  <a:pt x="1585129" y="903724"/>
                  <a:pt x="1583531" y="900113"/>
                  <a:pt x="1581150" y="897732"/>
                </a:cubicBezTo>
                <a:cubicBezTo>
                  <a:pt x="1580356" y="893763"/>
                  <a:pt x="1579193" y="889850"/>
                  <a:pt x="1578769" y="885825"/>
                </a:cubicBezTo>
                <a:cubicBezTo>
                  <a:pt x="1578274" y="881120"/>
                  <a:pt x="1582031" y="853668"/>
                  <a:pt x="1571625" y="845344"/>
                </a:cubicBezTo>
                <a:cubicBezTo>
                  <a:pt x="1570072" y="844102"/>
                  <a:pt x="1555578" y="840737"/>
                  <a:pt x="1554956" y="840582"/>
                </a:cubicBezTo>
                <a:cubicBezTo>
                  <a:pt x="1552575" y="838994"/>
                  <a:pt x="1550675" y="835819"/>
                  <a:pt x="1547813" y="835819"/>
                </a:cubicBezTo>
                <a:cubicBezTo>
                  <a:pt x="1534446" y="835819"/>
                  <a:pt x="1503717" y="840418"/>
                  <a:pt x="1485900" y="842963"/>
                </a:cubicBezTo>
                <a:cubicBezTo>
                  <a:pt x="1468621" y="840083"/>
                  <a:pt x="1473752" y="844318"/>
                  <a:pt x="1464469" y="831057"/>
                </a:cubicBezTo>
                <a:cubicBezTo>
                  <a:pt x="1461187" y="826368"/>
                  <a:pt x="1454944" y="816769"/>
                  <a:pt x="1454944" y="816769"/>
                </a:cubicBezTo>
                <a:cubicBezTo>
                  <a:pt x="1458917" y="796905"/>
                  <a:pt x="1453290" y="811279"/>
                  <a:pt x="1466850" y="797719"/>
                </a:cubicBezTo>
                <a:cubicBezTo>
                  <a:pt x="1474790" y="789779"/>
                  <a:pt x="1470904" y="781286"/>
                  <a:pt x="1485900" y="776288"/>
                </a:cubicBezTo>
                <a:cubicBezTo>
                  <a:pt x="1488281" y="775494"/>
                  <a:pt x="1490799" y="775030"/>
                  <a:pt x="1493044" y="773907"/>
                </a:cubicBezTo>
                <a:cubicBezTo>
                  <a:pt x="1498788" y="771035"/>
                  <a:pt x="1506427" y="765778"/>
                  <a:pt x="1512094" y="762000"/>
                </a:cubicBezTo>
                <a:cubicBezTo>
                  <a:pt x="1513681" y="758825"/>
                  <a:pt x="1515458" y="755738"/>
                  <a:pt x="1516856" y="752475"/>
                </a:cubicBezTo>
                <a:cubicBezTo>
                  <a:pt x="1518909" y="747685"/>
                  <a:pt x="1520408" y="740651"/>
                  <a:pt x="1521619" y="735807"/>
                </a:cubicBezTo>
                <a:cubicBezTo>
                  <a:pt x="1520825" y="726282"/>
                  <a:pt x="1520424" y="716716"/>
                  <a:pt x="1519238" y="707232"/>
                </a:cubicBezTo>
                <a:cubicBezTo>
                  <a:pt x="1518832" y="703985"/>
                  <a:pt x="1518320" y="700634"/>
                  <a:pt x="1516856" y="697707"/>
                </a:cubicBezTo>
                <a:cubicBezTo>
                  <a:pt x="1515081" y="694157"/>
                  <a:pt x="1512020" y="691411"/>
                  <a:pt x="1509713" y="688182"/>
                </a:cubicBezTo>
                <a:cubicBezTo>
                  <a:pt x="1503924" y="680077"/>
                  <a:pt x="1504676" y="678708"/>
                  <a:pt x="1495425" y="671513"/>
                </a:cubicBezTo>
                <a:cubicBezTo>
                  <a:pt x="1491772" y="668671"/>
                  <a:pt x="1487444" y="666822"/>
                  <a:pt x="1483519" y="664369"/>
                </a:cubicBezTo>
                <a:cubicBezTo>
                  <a:pt x="1481092" y="662852"/>
                  <a:pt x="1478990" y="660769"/>
                  <a:pt x="1476375" y="659607"/>
                </a:cubicBezTo>
                <a:cubicBezTo>
                  <a:pt x="1471788" y="657568"/>
                  <a:pt x="1466749" y="656708"/>
                  <a:pt x="1462088" y="654844"/>
                </a:cubicBezTo>
                <a:cubicBezTo>
                  <a:pt x="1432651" y="643069"/>
                  <a:pt x="1468424" y="655370"/>
                  <a:pt x="1445419" y="647700"/>
                </a:cubicBezTo>
                <a:cubicBezTo>
                  <a:pt x="1435100" y="648494"/>
                  <a:pt x="1424392" y="647162"/>
                  <a:pt x="1414463" y="650082"/>
                </a:cubicBezTo>
                <a:cubicBezTo>
                  <a:pt x="1410155" y="651349"/>
                  <a:pt x="1408347" y="656685"/>
                  <a:pt x="1404938" y="659607"/>
                </a:cubicBezTo>
                <a:cubicBezTo>
                  <a:pt x="1402765" y="661469"/>
                  <a:pt x="1400123" y="662706"/>
                  <a:pt x="1397794" y="664369"/>
                </a:cubicBezTo>
                <a:cubicBezTo>
                  <a:pt x="1391303" y="669006"/>
                  <a:pt x="1386215" y="672549"/>
                  <a:pt x="1381125" y="678657"/>
                </a:cubicBezTo>
                <a:cubicBezTo>
                  <a:pt x="1373010" y="688395"/>
                  <a:pt x="1379360" y="683686"/>
                  <a:pt x="1371600" y="695325"/>
                </a:cubicBezTo>
                <a:cubicBezTo>
                  <a:pt x="1368781" y="699554"/>
                  <a:pt x="1365250" y="703263"/>
                  <a:pt x="1362075" y="707232"/>
                </a:cubicBezTo>
                <a:cubicBezTo>
                  <a:pt x="1352456" y="740901"/>
                  <a:pt x="1364215" y="709958"/>
                  <a:pt x="1347788" y="733425"/>
                </a:cubicBezTo>
                <a:cubicBezTo>
                  <a:pt x="1330783" y="757718"/>
                  <a:pt x="1354312" y="740187"/>
                  <a:pt x="1321594" y="762000"/>
                </a:cubicBezTo>
                <a:cubicBezTo>
                  <a:pt x="1291049" y="782364"/>
                  <a:pt x="1310928" y="772582"/>
                  <a:pt x="1290638" y="778669"/>
                </a:cubicBezTo>
                <a:cubicBezTo>
                  <a:pt x="1285829" y="780112"/>
                  <a:pt x="1276350" y="783432"/>
                  <a:pt x="1276350" y="783432"/>
                </a:cubicBezTo>
                <a:cubicBezTo>
                  <a:pt x="1260475" y="782638"/>
                  <a:pt x="1244573" y="782269"/>
                  <a:pt x="1228725" y="781050"/>
                </a:cubicBezTo>
                <a:cubicBezTo>
                  <a:pt x="1209796" y="779594"/>
                  <a:pt x="1220144" y="779500"/>
                  <a:pt x="1207294" y="776288"/>
                </a:cubicBezTo>
                <a:cubicBezTo>
                  <a:pt x="1203368" y="775306"/>
                  <a:pt x="1199357" y="774701"/>
                  <a:pt x="1195388" y="773907"/>
                </a:cubicBezTo>
                <a:cubicBezTo>
                  <a:pt x="1192213" y="772319"/>
                  <a:pt x="1188590" y="771417"/>
                  <a:pt x="1185863" y="769144"/>
                </a:cubicBezTo>
                <a:cubicBezTo>
                  <a:pt x="1180012" y="764268"/>
                  <a:pt x="1181738" y="760895"/>
                  <a:pt x="1178719" y="754857"/>
                </a:cubicBezTo>
                <a:cubicBezTo>
                  <a:pt x="1177439" y="752297"/>
                  <a:pt x="1175544" y="750094"/>
                  <a:pt x="1173956" y="747713"/>
                </a:cubicBezTo>
                <a:cubicBezTo>
                  <a:pt x="1174750" y="738982"/>
                  <a:pt x="1175179" y="730209"/>
                  <a:pt x="1176338" y="721519"/>
                </a:cubicBezTo>
                <a:cubicBezTo>
                  <a:pt x="1176771" y="718275"/>
                  <a:pt x="1177820" y="715141"/>
                  <a:pt x="1178719" y="711994"/>
                </a:cubicBezTo>
                <a:cubicBezTo>
                  <a:pt x="1180587" y="705456"/>
                  <a:pt x="1183343" y="699242"/>
                  <a:pt x="1185863" y="692944"/>
                </a:cubicBezTo>
                <a:cubicBezTo>
                  <a:pt x="1186657" y="688975"/>
                  <a:pt x="1186823" y="684828"/>
                  <a:pt x="1188244" y="681038"/>
                </a:cubicBezTo>
                <a:cubicBezTo>
                  <a:pt x="1190663" y="674588"/>
                  <a:pt x="1195938" y="671804"/>
                  <a:pt x="1200150" y="666750"/>
                </a:cubicBezTo>
                <a:cubicBezTo>
                  <a:pt x="1201982" y="664552"/>
                  <a:pt x="1203250" y="661936"/>
                  <a:pt x="1204913" y="659607"/>
                </a:cubicBezTo>
                <a:cubicBezTo>
                  <a:pt x="1207220" y="656378"/>
                  <a:pt x="1210129" y="653551"/>
                  <a:pt x="1212056" y="650082"/>
                </a:cubicBezTo>
                <a:cubicBezTo>
                  <a:pt x="1214132" y="646345"/>
                  <a:pt x="1215231" y="642144"/>
                  <a:pt x="1216819" y="638175"/>
                </a:cubicBezTo>
                <a:cubicBezTo>
                  <a:pt x="1216025" y="629444"/>
                  <a:pt x="1215962" y="620616"/>
                  <a:pt x="1214438" y="611982"/>
                </a:cubicBezTo>
                <a:cubicBezTo>
                  <a:pt x="1213566" y="607038"/>
                  <a:pt x="1213932" y="600355"/>
                  <a:pt x="1209675" y="597694"/>
                </a:cubicBezTo>
                <a:cubicBezTo>
                  <a:pt x="1200126" y="591726"/>
                  <a:pt x="1182607" y="579940"/>
                  <a:pt x="1171575" y="576263"/>
                </a:cubicBezTo>
                <a:cubicBezTo>
                  <a:pt x="1145367" y="567528"/>
                  <a:pt x="1192321" y="583333"/>
                  <a:pt x="1152525" y="569119"/>
                </a:cubicBezTo>
                <a:cubicBezTo>
                  <a:pt x="1145434" y="566586"/>
                  <a:pt x="1131094" y="561975"/>
                  <a:pt x="1131094" y="561975"/>
                </a:cubicBezTo>
                <a:cubicBezTo>
                  <a:pt x="1116806" y="562769"/>
                  <a:pt x="1102185" y="561186"/>
                  <a:pt x="1088231" y="564357"/>
                </a:cubicBezTo>
                <a:cubicBezTo>
                  <a:pt x="1083853" y="565352"/>
                  <a:pt x="1082115" y="570960"/>
                  <a:pt x="1078706" y="573882"/>
                </a:cubicBezTo>
                <a:cubicBezTo>
                  <a:pt x="1076533" y="575744"/>
                  <a:pt x="1073944" y="577057"/>
                  <a:pt x="1071563" y="578644"/>
                </a:cubicBezTo>
                <a:cubicBezTo>
                  <a:pt x="1069687" y="586145"/>
                  <a:pt x="1069361" y="588484"/>
                  <a:pt x="1066800" y="595313"/>
                </a:cubicBezTo>
                <a:cubicBezTo>
                  <a:pt x="1065299" y="599315"/>
                  <a:pt x="1063390" y="603164"/>
                  <a:pt x="1062038" y="607219"/>
                </a:cubicBezTo>
                <a:cubicBezTo>
                  <a:pt x="1059520" y="614773"/>
                  <a:pt x="1060328" y="617019"/>
                  <a:pt x="1057275" y="623888"/>
                </a:cubicBezTo>
                <a:cubicBezTo>
                  <a:pt x="1055112" y="628754"/>
                  <a:pt x="1052512" y="633413"/>
                  <a:pt x="1050131" y="638175"/>
                </a:cubicBezTo>
                <a:cubicBezTo>
                  <a:pt x="1049337" y="644525"/>
                  <a:pt x="1048895" y="650929"/>
                  <a:pt x="1047750" y="657225"/>
                </a:cubicBezTo>
                <a:cubicBezTo>
                  <a:pt x="1046428" y="664497"/>
                  <a:pt x="1037147" y="680813"/>
                  <a:pt x="1035844" y="683419"/>
                </a:cubicBezTo>
                <a:cubicBezTo>
                  <a:pt x="1034256" y="686594"/>
                  <a:pt x="1033211" y="690104"/>
                  <a:pt x="1031081" y="692944"/>
                </a:cubicBezTo>
                <a:cubicBezTo>
                  <a:pt x="1028700" y="696119"/>
                  <a:pt x="1026744" y="699663"/>
                  <a:pt x="1023938" y="702469"/>
                </a:cubicBezTo>
                <a:cubicBezTo>
                  <a:pt x="1014500" y="711907"/>
                  <a:pt x="1003394" y="719634"/>
                  <a:pt x="990600" y="723900"/>
                </a:cubicBezTo>
                <a:cubicBezTo>
                  <a:pt x="976637" y="728555"/>
                  <a:pt x="985951" y="726005"/>
                  <a:pt x="962025" y="728663"/>
                </a:cubicBezTo>
                <a:cubicBezTo>
                  <a:pt x="942975" y="727869"/>
                  <a:pt x="923889" y="727691"/>
                  <a:pt x="904875" y="726282"/>
                </a:cubicBezTo>
                <a:cubicBezTo>
                  <a:pt x="902372" y="726097"/>
                  <a:pt x="900235" y="724079"/>
                  <a:pt x="897731" y="723900"/>
                </a:cubicBezTo>
                <a:cubicBezTo>
                  <a:pt x="877922" y="722485"/>
                  <a:pt x="858044" y="722313"/>
                  <a:pt x="838200" y="721519"/>
                </a:cubicBezTo>
                <a:cubicBezTo>
                  <a:pt x="827283" y="705143"/>
                  <a:pt x="834105" y="709042"/>
                  <a:pt x="821531" y="704850"/>
                </a:cubicBezTo>
                <a:lnTo>
                  <a:pt x="816769" y="690563"/>
                </a:lnTo>
                <a:lnTo>
                  <a:pt x="814388" y="683419"/>
                </a:lnTo>
                <a:cubicBezTo>
                  <a:pt x="815182" y="681038"/>
                  <a:pt x="816079" y="678689"/>
                  <a:pt x="816769" y="676275"/>
                </a:cubicBezTo>
                <a:cubicBezTo>
                  <a:pt x="817668" y="673128"/>
                  <a:pt x="817526" y="669591"/>
                  <a:pt x="819150" y="666750"/>
                </a:cubicBezTo>
                <a:cubicBezTo>
                  <a:pt x="820821" y="663826"/>
                  <a:pt x="823737" y="661798"/>
                  <a:pt x="826294" y="659607"/>
                </a:cubicBezTo>
                <a:cubicBezTo>
                  <a:pt x="829307" y="657024"/>
                  <a:pt x="832373" y="654432"/>
                  <a:pt x="835819" y="652463"/>
                </a:cubicBezTo>
                <a:cubicBezTo>
                  <a:pt x="837998" y="651218"/>
                  <a:pt x="840613" y="650963"/>
                  <a:pt x="842963" y="650082"/>
                </a:cubicBezTo>
                <a:cubicBezTo>
                  <a:pt x="846965" y="648581"/>
                  <a:pt x="851133" y="647395"/>
                  <a:pt x="854869" y="645319"/>
                </a:cubicBezTo>
                <a:cubicBezTo>
                  <a:pt x="867755" y="638159"/>
                  <a:pt x="861389" y="636997"/>
                  <a:pt x="876300" y="631032"/>
                </a:cubicBezTo>
                <a:cubicBezTo>
                  <a:pt x="880058" y="629529"/>
                  <a:pt x="884237" y="629444"/>
                  <a:pt x="888206" y="628650"/>
                </a:cubicBezTo>
                <a:cubicBezTo>
                  <a:pt x="892969" y="625475"/>
                  <a:pt x="897586" y="622070"/>
                  <a:pt x="902494" y="619125"/>
                </a:cubicBezTo>
                <a:cubicBezTo>
                  <a:pt x="924284" y="606052"/>
                  <a:pt x="899436" y="623801"/>
                  <a:pt x="921544" y="607219"/>
                </a:cubicBezTo>
                <a:cubicBezTo>
                  <a:pt x="923131" y="604838"/>
                  <a:pt x="925144" y="602690"/>
                  <a:pt x="926306" y="600075"/>
                </a:cubicBezTo>
                <a:cubicBezTo>
                  <a:pt x="926312" y="600061"/>
                  <a:pt x="932257" y="582223"/>
                  <a:pt x="933450" y="578644"/>
                </a:cubicBezTo>
                <a:lnTo>
                  <a:pt x="935831" y="571500"/>
                </a:lnTo>
                <a:lnTo>
                  <a:pt x="938213" y="564357"/>
                </a:lnTo>
                <a:cubicBezTo>
                  <a:pt x="937148" y="545186"/>
                  <a:pt x="936549" y="520211"/>
                  <a:pt x="933450" y="500063"/>
                </a:cubicBezTo>
                <a:cubicBezTo>
                  <a:pt x="932952" y="496828"/>
                  <a:pt x="931968" y="493685"/>
                  <a:pt x="931069" y="490538"/>
                </a:cubicBezTo>
                <a:cubicBezTo>
                  <a:pt x="930379" y="488124"/>
                  <a:pt x="930648" y="484962"/>
                  <a:pt x="928688" y="483394"/>
                </a:cubicBezTo>
                <a:cubicBezTo>
                  <a:pt x="926132" y="481350"/>
                  <a:pt x="922403" y="481476"/>
                  <a:pt x="919163" y="481013"/>
                </a:cubicBezTo>
                <a:cubicBezTo>
                  <a:pt x="911266" y="479885"/>
                  <a:pt x="903288" y="479426"/>
                  <a:pt x="895350" y="478632"/>
                </a:cubicBezTo>
                <a:cubicBezTo>
                  <a:pt x="873125" y="480219"/>
                  <a:pt x="850690" y="479954"/>
                  <a:pt x="828675" y="483394"/>
                </a:cubicBezTo>
                <a:cubicBezTo>
                  <a:pt x="824285" y="484080"/>
                  <a:pt x="815313" y="494926"/>
                  <a:pt x="812006" y="497682"/>
                </a:cubicBezTo>
                <a:cubicBezTo>
                  <a:pt x="809808" y="499514"/>
                  <a:pt x="807061" y="500612"/>
                  <a:pt x="804863" y="502444"/>
                </a:cubicBezTo>
                <a:cubicBezTo>
                  <a:pt x="802276" y="504600"/>
                  <a:pt x="800521" y="507720"/>
                  <a:pt x="797719" y="509588"/>
                </a:cubicBezTo>
                <a:cubicBezTo>
                  <a:pt x="795630" y="510980"/>
                  <a:pt x="792882" y="510980"/>
                  <a:pt x="790575" y="511969"/>
                </a:cubicBezTo>
                <a:cubicBezTo>
                  <a:pt x="772172" y="519856"/>
                  <a:pt x="789659" y="513252"/>
                  <a:pt x="769144" y="528638"/>
                </a:cubicBezTo>
                <a:cubicBezTo>
                  <a:pt x="760865" y="534848"/>
                  <a:pt x="742950" y="545307"/>
                  <a:pt x="742950" y="545307"/>
                </a:cubicBezTo>
                <a:cubicBezTo>
                  <a:pt x="734229" y="542399"/>
                  <a:pt x="733853" y="543780"/>
                  <a:pt x="728663" y="533400"/>
                </a:cubicBezTo>
                <a:cubicBezTo>
                  <a:pt x="726418" y="528910"/>
                  <a:pt x="723900" y="519113"/>
                  <a:pt x="723900" y="519113"/>
                </a:cubicBezTo>
                <a:cubicBezTo>
                  <a:pt x="723106" y="512763"/>
                  <a:pt x="723203" y="506237"/>
                  <a:pt x="721519" y="500063"/>
                </a:cubicBezTo>
                <a:cubicBezTo>
                  <a:pt x="720766" y="497302"/>
                  <a:pt x="717761" y="495599"/>
                  <a:pt x="716756" y="492919"/>
                </a:cubicBezTo>
                <a:cubicBezTo>
                  <a:pt x="715335" y="489129"/>
                  <a:pt x="716727" y="484306"/>
                  <a:pt x="714375" y="481013"/>
                </a:cubicBezTo>
                <a:cubicBezTo>
                  <a:pt x="712312" y="478124"/>
                  <a:pt x="708025" y="477838"/>
                  <a:pt x="704850" y="476250"/>
                </a:cubicBezTo>
                <a:cubicBezTo>
                  <a:pt x="702469" y="473075"/>
                  <a:pt x="700719" y="469308"/>
                  <a:pt x="697706" y="466725"/>
                </a:cubicBezTo>
                <a:cubicBezTo>
                  <a:pt x="692822" y="462539"/>
                  <a:pt x="678635" y="459096"/>
                  <a:pt x="673894" y="457200"/>
                </a:cubicBezTo>
                <a:cubicBezTo>
                  <a:pt x="654181" y="449315"/>
                  <a:pt x="675338" y="454632"/>
                  <a:pt x="652463" y="450057"/>
                </a:cubicBezTo>
                <a:lnTo>
                  <a:pt x="631031" y="452438"/>
                </a:lnTo>
                <a:cubicBezTo>
                  <a:pt x="627076" y="455207"/>
                  <a:pt x="629697" y="462012"/>
                  <a:pt x="628650" y="466725"/>
                </a:cubicBezTo>
                <a:cubicBezTo>
                  <a:pt x="628106" y="469175"/>
                  <a:pt x="626959" y="471455"/>
                  <a:pt x="626269" y="473869"/>
                </a:cubicBezTo>
                <a:cubicBezTo>
                  <a:pt x="624029" y="481710"/>
                  <a:pt x="623142" y="487123"/>
                  <a:pt x="621506" y="495300"/>
                </a:cubicBezTo>
                <a:cubicBezTo>
                  <a:pt x="622300" y="505619"/>
                  <a:pt x="621518" y="516183"/>
                  <a:pt x="623888" y="526257"/>
                </a:cubicBezTo>
                <a:cubicBezTo>
                  <a:pt x="624797" y="530120"/>
                  <a:pt x="628448" y="532769"/>
                  <a:pt x="631031" y="535782"/>
                </a:cubicBezTo>
                <a:cubicBezTo>
                  <a:pt x="641462" y="547951"/>
                  <a:pt x="634300" y="538505"/>
                  <a:pt x="645319" y="547688"/>
                </a:cubicBezTo>
                <a:cubicBezTo>
                  <a:pt x="647906" y="549844"/>
                  <a:pt x="650082" y="552451"/>
                  <a:pt x="652463" y="554832"/>
                </a:cubicBezTo>
                <a:cubicBezTo>
                  <a:pt x="658148" y="571887"/>
                  <a:pt x="650020" y="552376"/>
                  <a:pt x="661988" y="566738"/>
                </a:cubicBezTo>
                <a:cubicBezTo>
                  <a:pt x="664260" y="569465"/>
                  <a:pt x="664440" y="573568"/>
                  <a:pt x="666750" y="576263"/>
                </a:cubicBezTo>
                <a:cubicBezTo>
                  <a:pt x="678008" y="589398"/>
                  <a:pt x="673374" y="578124"/>
                  <a:pt x="683419" y="588169"/>
                </a:cubicBezTo>
                <a:cubicBezTo>
                  <a:pt x="688594" y="593344"/>
                  <a:pt x="691930" y="600345"/>
                  <a:pt x="697706" y="604838"/>
                </a:cubicBezTo>
                <a:cubicBezTo>
                  <a:pt x="706410" y="611608"/>
                  <a:pt x="717308" y="615098"/>
                  <a:pt x="726281" y="621507"/>
                </a:cubicBezTo>
                <a:cubicBezTo>
                  <a:pt x="745839" y="635476"/>
                  <a:pt x="736843" y="630360"/>
                  <a:pt x="752475" y="638175"/>
                </a:cubicBezTo>
                <a:cubicBezTo>
                  <a:pt x="754856" y="640556"/>
                  <a:pt x="756675" y="643683"/>
                  <a:pt x="759619" y="645319"/>
                </a:cubicBezTo>
                <a:cubicBezTo>
                  <a:pt x="764007" y="647757"/>
                  <a:pt x="773906" y="650082"/>
                  <a:pt x="773906" y="650082"/>
                </a:cubicBezTo>
                <a:cubicBezTo>
                  <a:pt x="783711" y="648121"/>
                  <a:pt x="792352" y="645018"/>
                  <a:pt x="802481" y="650082"/>
                </a:cubicBezTo>
                <a:cubicBezTo>
                  <a:pt x="804726" y="651204"/>
                  <a:pt x="804069" y="654844"/>
                  <a:pt x="804863" y="657225"/>
                </a:cubicBezTo>
                <a:cubicBezTo>
                  <a:pt x="803125" y="676335"/>
                  <a:pt x="807049" y="679366"/>
                  <a:pt x="797719" y="690563"/>
                </a:cubicBezTo>
                <a:cubicBezTo>
                  <a:pt x="795563" y="693150"/>
                  <a:pt x="792956" y="695326"/>
                  <a:pt x="790575" y="697707"/>
                </a:cubicBezTo>
                <a:cubicBezTo>
                  <a:pt x="791369" y="704851"/>
                  <a:pt x="791863" y="712034"/>
                  <a:pt x="792956" y="719138"/>
                </a:cubicBezTo>
                <a:cubicBezTo>
                  <a:pt x="793454" y="722373"/>
                  <a:pt x="794752" y="725443"/>
                  <a:pt x="795338" y="728663"/>
                </a:cubicBezTo>
                <a:cubicBezTo>
                  <a:pt x="796342" y="734185"/>
                  <a:pt x="796925" y="739776"/>
                  <a:pt x="797719" y="745332"/>
                </a:cubicBezTo>
                <a:cubicBezTo>
                  <a:pt x="795730" y="757265"/>
                  <a:pt x="798092" y="760165"/>
                  <a:pt x="788194" y="766763"/>
                </a:cubicBezTo>
                <a:cubicBezTo>
                  <a:pt x="786105" y="768155"/>
                  <a:pt x="783431" y="768350"/>
                  <a:pt x="781050" y="769144"/>
                </a:cubicBezTo>
                <a:cubicBezTo>
                  <a:pt x="766426" y="778894"/>
                  <a:pt x="781434" y="768214"/>
                  <a:pt x="766763" y="781050"/>
                </a:cubicBezTo>
                <a:cubicBezTo>
                  <a:pt x="762938" y="784397"/>
                  <a:pt x="758256" y="786797"/>
                  <a:pt x="754856" y="790575"/>
                </a:cubicBezTo>
                <a:cubicBezTo>
                  <a:pt x="751027" y="794830"/>
                  <a:pt x="745331" y="804863"/>
                  <a:pt x="745331" y="804863"/>
                </a:cubicBezTo>
                <a:cubicBezTo>
                  <a:pt x="739348" y="822814"/>
                  <a:pt x="747417" y="800693"/>
                  <a:pt x="738188" y="819150"/>
                </a:cubicBezTo>
                <a:cubicBezTo>
                  <a:pt x="737065" y="821395"/>
                  <a:pt x="737581" y="824519"/>
                  <a:pt x="735806" y="826294"/>
                </a:cubicBezTo>
                <a:cubicBezTo>
                  <a:pt x="734031" y="828069"/>
                  <a:pt x="730970" y="827686"/>
                  <a:pt x="728663" y="828675"/>
                </a:cubicBezTo>
                <a:cubicBezTo>
                  <a:pt x="725400" y="830073"/>
                  <a:pt x="722563" y="832504"/>
                  <a:pt x="719138" y="833438"/>
                </a:cubicBezTo>
                <a:cubicBezTo>
                  <a:pt x="710927" y="835677"/>
                  <a:pt x="677546" y="837896"/>
                  <a:pt x="673894" y="838200"/>
                </a:cubicBezTo>
                <a:cubicBezTo>
                  <a:pt x="665968" y="840182"/>
                  <a:pt x="660745" y="842933"/>
                  <a:pt x="652463" y="838200"/>
                </a:cubicBezTo>
                <a:cubicBezTo>
                  <a:pt x="649978" y="836780"/>
                  <a:pt x="649873" y="832919"/>
                  <a:pt x="647700" y="831057"/>
                </a:cubicBezTo>
                <a:cubicBezTo>
                  <a:pt x="644186" y="828045"/>
                  <a:pt x="639719" y="826366"/>
                  <a:pt x="635794" y="823913"/>
                </a:cubicBezTo>
                <a:cubicBezTo>
                  <a:pt x="629820" y="820179"/>
                  <a:pt x="626096" y="816711"/>
                  <a:pt x="619125" y="814388"/>
                </a:cubicBezTo>
                <a:cubicBezTo>
                  <a:pt x="615285" y="813108"/>
                  <a:pt x="611124" y="813072"/>
                  <a:pt x="607219" y="812007"/>
                </a:cubicBezTo>
                <a:cubicBezTo>
                  <a:pt x="577693" y="803954"/>
                  <a:pt x="610113" y="808962"/>
                  <a:pt x="569119" y="804863"/>
                </a:cubicBezTo>
                <a:cubicBezTo>
                  <a:pt x="553956" y="801073"/>
                  <a:pt x="552239" y="800100"/>
                  <a:pt x="531019" y="800100"/>
                </a:cubicBezTo>
                <a:cubicBezTo>
                  <a:pt x="522252" y="800100"/>
                  <a:pt x="513556" y="801688"/>
                  <a:pt x="504825" y="802482"/>
                </a:cubicBezTo>
                <a:lnTo>
                  <a:pt x="490538" y="807244"/>
                </a:lnTo>
                <a:cubicBezTo>
                  <a:pt x="488157" y="808038"/>
                  <a:pt x="485829" y="809016"/>
                  <a:pt x="483394" y="809625"/>
                </a:cubicBezTo>
                <a:lnTo>
                  <a:pt x="473869" y="812007"/>
                </a:lnTo>
                <a:cubicBezTo>
                  <a:pt x="472281" y="814388"/>
                  <a:pt x="470938" y="816952"/>
                  <a:pt x="469106" y="819150"/>
                </a:cubicBezTo>
                <a:cubicBezTo>
                  <a:pt x="466950" y="821737"/>
                  <a:pt x="463831" y="823492"/>
                  <a:pt x="461963" y="826294"/>
                </a:cubicBezTo>
                <a:cubicBezTo>
                  <a:pt x="460571" y="828383"/>
                  <a:pt x="446088" y="848122"/>
                  <a:pt x="445294" y="854869"/>
                </a:cubicBezTo>
                <a:close/>
              </a:path>
            </a:pathLst>
          </a:custGeom>
          <a:solidFill>
            <a:srgbClr val="00B05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/>
          </a:p>
        </p:txBody>
      </p:sp>
      <p:pic>
        <p:nvPicPr>
          <p:cNvPr id="23" name="Graphic 13">
            <a:extLst>
              <a:ext uri="{FF2B5EF4-FFF2-40B4-BE49-F238E27FC236}">
                <a16:creationId xmlns:a16="http://schemas.microsoft.com/office/drawing/2014/main" id="{A4765A47-0F61-4086-93C4-B022F70367E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68113" y="2182476"/>
            <a:ext cx="700864" cy="700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196604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419" dirty="0"/>
              <a:t>1 </a:t>
            </a:r>
            <a:r>
              <a:rPr lang="en-US" dirty="0"/>
              <a:t>Forest Landscape Investments in Latin America</a:t>
            </a:r>
            <a:endParaRPr lang="de-DE" dirty="0"/>
          </a:p>
          <a:p>
            <a:r>
              <a:rPr lang="es-419" dirty="0"/>
              <a:t>2 </a:t>
            </a:r>
            <a:r>
              <a:rPr lang="en-US" dirty="0"/>
              <a:t>Project Work Streams and Implementing Partners</a:t>
            </a:r>
            <a:endParaRPr lang="de-DE" dirty="0"/>
          </a:p>
          <a:p>
            <a:r>
              <a:rPr lang="es-419" dirty="0"/>
              <a:t>3 </a:t>
            </a:r>
            <a:r>
              <a:rPr lang="en-US" dirty="0"/>
              <a:t>Facilitating FLR Impact Measurement at FI level</a:t>
            </a:r>
            <a:endParaRPr lang="de-DE" dirty="0"/>
          </a:p>
          <a:p>
            <a:r>
              <a:rPr lang="es-419" dirty="0"/>
              <a:t>4 </a:t>
            </a:r>
            <a:r>
              <a:rPr lang="en-US" dirty="0"/>
              <a:t>FLR Impact Frameworks Focus on Four Broad Impact Areas</a:t>
            </a:r>
            <a:endParaRPr lang="de-DE" dirty="0"/>
          </a:p>
          <a:p>
            <a:r>
              <a:rPr lang="es-419" dirty="0"/>
              <a:t>5 </a:t>
            </a:r>
            <a:r>
              <a:rPr lang="en-US" dirty="0"/>
              <a:t>FLR Impact Engine Tool</a:t>
            </a:r>
            <a:endParaRPr lang="de-DE" dirty="0"/>
          </a:p>
          <a:p>
            <a:endParaRPr lang="es-419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"/>
          </p:nvPr>
        </p:nvSpPr>
        <p:spPr>
          <a:xfrm>
            <a:off x="6090049" y="6497442"/>
            <a:ext cx="166712" cy="238912"/>
          </a:xfrm>
        </p:spPr>
        <p:txBody>
          <a:bodyPr/>
          <a:lstStyle/>
          <a:p>
            <a:fld id="{86CB4B4D-7CA3-9044-876B-883B54F8677D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9406056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0D59E4F-C7E7-4309-AB4F-9AD03B4EF1B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Forest Landscape Investments in Latin America (FLILA)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EAF6E55-A29B-4C85-B574-244B386697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endParaRPr lang="de-DE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2A4A7822-DA30-4929-BBAE-E14C779B541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70987" y="1570892"/>
            <a:ext cx="5668110" cy="4617382"/>
          </a:xfrm>
        </p:spPr>
        <p:txBody>
          <a:bodyPr/>
          <a:lstStyle/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1800" dirty="0"/>
              <a:t>project lifetime: 2019 – 2024</a:t>
            </a:r>
          </a:p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sz="1800" dirty="0"/>
              <a:t>implementing partners </a:t>
            </a:r>
          </a:p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§"/>
            </a:pPr>
            <a:endParaRPr lang="en-US" sz="1800" dirty="0"/>
          </a:p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sz="1800" dirty="0"/>
              <a:t>main objective: facilitating and upscaling private Forest Landscape Restoration (FLR) investments</a:t>
            </a:r>
          </a:p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sz="1800" dirty="0"/>
              <a:t>key barriers:</a:t>
            </a:r>
          </a:p>
          <a:p>
            <a:pPr marL="514350" indent="-514350">
              <a:buFont typeface="+mj-lt"/>
              <a:buAutoNum type="arabicPeriod"/>
            </a:pPr>
            <a:r>
              <a:rPr lang="de-DE" sz="1600" dirty="0"/>
              <a:t>Lack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knowledge</a:t>
            </a:r>
            <a:r>
              <a:rPr lang="de-DE" sz="1600" dirty="0"/>
              <a:t> </a:t>
            </a:r>
            <a:r>
              <a:rPr lang="de-DE" sz="1600" dirty="0" err="1"/>
              <a:t>about</a:t>
            </a:r>
            <a:r>
              <a:rPr lang="de-DE" sz="1600" dirty="0"/>
              <a:t> FLR </a:t>
            </a:r>
            <a:r>
              <a:rPr lang="de-DE" sz="1600" dirty="0" err="1"/>
              <a:t>investments</a:t>
            </a:r>
            <a:r>
              <a:rPr lang="de-DE" sz="1600" dirty="0"/>
              <a:t> and </a:t>
            </a:r>
            <a:r>
              <a:rPr lang="de-DE" sz="1600" dirty="0" err="1"/>
              <a:t>their</a:t>
            </a:r>
            <a:r>
              <a:rPr lang="de-DE" sz="1600" dirty="0"/>
              <a:t> positive </a:t>
            </a:r>
            <a:r>
              <a:rPr lang="de-DE" sz="1600" dirty="0" err="1"/>
              <a:t>impacts</a:t>
            </a:r>
            <a:r>
              <a:rPr lang="de-DE" sz="1600" dirty="0"/>
              <a:t> (</a:t>
            </a:r>
            <a:r>
              <a:rPr lang="de-DE" sz="1600" dirty="0" err="1"/>
              <a:t>monitoring</a:t>
            </a:r>
            <a:r>
              <a:rPr lang="de-DE" sz="1600" dirty="0"/>
              <a:t> on Financial Institution </a:t>
            </a:r>
            <a:r>
              <a:rPr lang="de-DE" sz="1600" dirty="0" err="1"/>
              <a:t>level</a:t>
            </a:r>
            <a:r>
              <a:rPr lang="de-DE" sz="1600" dirty="0"/>
              <a:t>)</a:t>
            </a:r>
          </a:p>
          <a:p>
            <a:pPr marL="514350" indent="-514350">
              <a:spcAft>
                <a:spcPts val="600"/>
              </a:spcAft>
              <a:buFont typeface="+mj-lt"/>
              <a:buAutoNum type="arabicPeriod"/>
            </a:pPr>
            <a:r>
              <a:rPr lang="de-DE" sz="1600" dirty="0"/>
              <a:t>Initial </a:t>
            </a:r>
            <a:r>
              <a:rPr lang="de-DE" sz="1600" dirty="0" err="1"/>
              <a:t>investment</a:t>
            </a:r>
            <a:r>
              <a:rPr lang="de-DE" sz="1600" dirty="0"/>
              <a:t> </a:t>
            </a:r>
            <a:r>
              <a:rPr lang="de-DE" sz="1600" dirty="0" err="1"/>
              <a:t>costs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/>
              <a:t>many</a:t>
            </a:r>
            <a:r>
              <a:rPr lang="de-DE" sz="1600" dirty="0"/>
              <a:t> FLR </a:t>
            </a:r>
            <a:r>
              <a:rPr lang="de-DE" sz="1600" dirty="0" err="1"/>
              <a:t>land</a:t>
            </a:r>
            <a:r>
              <a:rPr lang="de-DE" sz="1600" dirty="0"/>
              <a:t> </a:t>
            </a:r>
            <a:r>
              <a:rPr lang="de-DE" sz="1600" dirty="0" err="1"/>
              <a:t>use</a:t>
            </a:r>
            <a:r>
              <a:rPr lang="de-DE" sz="1600" dirty="0"/>
              <a:t> </a:t>
            </a:r>
            <a:r>
              <a:rPr lang="de-DE" sz="1600" dirty="0" err="1"/>
              <a:t>types</a:t>
            </a:r>
            <a:r>
              <a:rPr lang="de-DE" sz="1600" dirty="0"/>
              <a:t> </a:t>
            </a:r>
            <a:r>
              <a:rPr lang="de-DE" sz="1600" dirty="0" err="1"/>
              <a:t>are</a:t>
            </a:r>
            <a:r>
              <a:rPr lang="de-DE" sz="1600" dirty="0"/>
              <a:t> high and </a:t>
            </a:r>
            <a:r>
              <a:rPr lang="de-DE" sz="1600" dirty="0" err="1"/>
              <a:t>payback</a:t>
            </a:r>
            <a:r>
              <a:rPr lang="de-DE" sz="1600" dirty="0"/>
              <a:t> </a:t>
            </a:r>
            <a:r>
              <a:rPr lang="de-DE" sz="1600" dirty="0" err="1"/>
              <a:t>periods</a:t>
            </a:r>
            <a:r>
              <a:rPr lang="de-DE" sz="1600" dirty="0"/>
              <a:t> </a:t>
            </a:r>
            <a:r>
              <a:rPr lang="de-DE" sz="1600" dirty="0" err="1"/>
              <a:t>tend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be</a:t>
            </a:r>
            <a:r>
              <a:rPr lang="de-DE" sz="1600" dirty="0"/>
              <a:t> </a:t>
            </a:r>
            <a:r>
              <a:rPr lang="de-DE" sz="1600" dirty="0" err="1"/>
              <a:t>long</a:t>
            </a:r>
            <a:endParaRPr lang="de-DE" sz="1600" dirty="0"/>
          </a:p>
          <a:p>
            <a:pPr marL="514350" indent="-514350">
              <a:spcAft>
                <a:spcPts val="600"/>
              </a:spcAft>
              <a:buFont typeface="+mj-lt"/>
              <a:buAutoNum type="arabicPeriod"/>
            </a:pPr>
            <a:r>
              <a:rPr lang="de-DE" sz="1600" dirty="0" err="1"/>
              <a:t>land</a:t>
            </a:r>
            <a:r>
              <a:rPr lang="de-DE" sz="1600" dirty="0"/>
              <a:t> </a:t>
            </a:r>
            <a:r>
              <a:rPr lang="de-DE" sz="1600" dirty="0" err="1"/>
              <a:t>suitable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FLR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often</a:t>
            </a:r>
            <a:r>
              <a:rPr lang="de-DE" sz="1600" dirty="0"/>
              <a:t> </a:t>
            </a:r>
            <a:r>
              <a:rPr lang="de-DE" sz="1600" dirty="0" err="1"/>
              <a:t>privately</a:t>
            </a:r>
            <a:r>
              <a:rPr lang="de-DE" sz="1600" dirty="0"/>
              <a:t> </a:t>
            </a:r>
            <a:r>
              <a:rPr lang="de-DE" sz="1600" dirty="0" err="1"/>
              <a:t>owned</a:t>
            </a:r>
            <a:r>
              <a:rPr lang="de-DE" sz="1600" dirty="0"/>
              <a:t> and </a:t>
            </a:r>
            <a:r>
              <a:rPr lang="de-DE" sz="1600" dirty="0" err="1"/>
              <a:t>there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lack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knowledge</a:t>
            </a:r>
            <a:r>
              <a:rPr lang="de-DE" sz="1600" dirty="0"/>
              <a:t> </a:t>
            </a:r>
            <a:r>
              <a:rPr lang="de-DE" sz="1600" dirty="0" err="1"/>
              <a:t>among</a:t>
            </a:r>
            <a:r>
              <a:rPr lang="de-DE" sz="1600" dirty="0"/>
              <a:t> </a:t>
            </a:r>
            <a:r>
              <a:rPr lang="de-DE" sz="1600" dirty="0" err="1"/>
              <a:t>landowners</a:t>
            </a:r>
            <a:r>
              <a:rPr lang="de-DE" sz="1600" dirty="0"/>
              <a:t> on FLR </a:t>
            </a:r>
            <a:r>
              <a:rPr lang="de-DE" sz="1600" dirty="0" err="1"/>
              <a:t>practices</a:t>
            </a:r>
            <a:r>
              <a:rPr lang="de-DE" sz="1600" dirty="0"/>
              <a:t> &amp; </a:t>
            </a:r>
            <a:r>
              <a:rPr lang="de-DE" sz="1600" dirty="0" err="1"/>
              <a:t>benefits</a:t>
            </a:r>
            <a:endParaRPr lang="de-DE" sz="1600" dirty="0"/>
          </a:p>
          <a:p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50EEF19-9EFB-4C49-A457-9F45D014CAB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229231" y="1502762"/>
            <a:ext cx="4287811" cy="4911329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schemeClr val="tx2"/>
                </a:solidFill>
              </a:rPr>
              <a:t>geographical focus:</a:t>
            </a:r>
          </a:p>
          <a:p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79F39C3-136A-47BC-9BEC-937FA373C6CC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de-DE" smtClean="0"/>
              <a:t>3</a:t>
            </a:fld>
            <a:endParaRPr lang="de-DE" dirty="0"/>
          </a:p>
        </p:txBody>
      </p:sp>
      <p:grpSp>
        <p:nvGrpSpPr>
          <p:cNvPr id="8" name="Group 49">
            <a:extLst>
              <a:ext uri="{FF2B5EF4-FFF2-40B4-BE49-F238E27FC236}">
                <a16:creationId xmlns:a16="http://schemas.microsoft.com/office/drawing/2014/main" id="{73D72756-A30A-497F-A140-775470CDEB08}"/>
              </a:ext>
            </a:extLst>
          </p:cNvPr>
          <p:cNvGrpSpPr/>
          <p:nvPr/>
        </p:nvGrpSpPr>
        <p:grpSpPr>
          <a:xfrm>
            <a:off x="7834579" y="1877933"/>
            <a:ext cx="3244304" cy="3856689"/>
            <a:chOff x="7561949" y="2163111"/>
            <a:chExt cx="3566624" cy="4239849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85F7911-12BF-4486-9A85-FB50C6A67A3E}"/>
                </a:ext>
              </a:extLst>
            </p:cNvPr>
            <p:cNvGrpSpPr/>
            <p:nvPr/>
          </p:nvGrpSpPr>
          <p:grpSpPr>
            <a:xfrm>
              <a:off x="7563721" y="2163111"/>
              <a:ext cx="3564852" cy="4239849"/>
              <a:chOff x="0" y="0"/>
              <a:chExt cx="1949346" cy="2540651"/>
            </a:xfrm>
          </p:grpSpPr>
          <p:sp>
            <p:nvSpPr>
              <p:cNvPr id="16" name="Nicaragu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20DF6997-6F27-4C6E-AF77-6E1670ABB4C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5360" y="514920"/>
                <a:ext cx="117414" cy="118828"/>
              </a:xfrm>
              <a:custGeom>
                <a:avLst/>
                <a:gdLst>
                  <a:gd name="T0" fmla="*/ 2147483647 w 324"/>
                  <a:gd name="T1" fmla="*/ 2147483647 h 330"/>
                  <a:gd name="T2" fmla="*/ 2147483647 w 324"/>
                  <a:gd name="T3" fmla="*/ 0 h 330"/>
                  <a:gd name="T4" fmla="*/ 2147483647 w 324"/>
                  <a:gd name="T5" fmla="*/ 2147483647 h 330"/>
                  <a:gd name="T6" fmla="*/ 2147483647 w 324"/>
                  <a:gd name="T7" fmla="*/ 2147483647 h 330"/>
                  <a:gd name="T8" fmla="*/ 2147483647 w 324"/>
                  <a:gd name="T9" fmla="*/ 0 h 330"/>
                  <a:gd name="T10" fmla="*/ 2147483647 w 324"/>
                  <a:gd name="T11" fmla="*/ 2147483647 h 330"/>
                  <a:gd name="T12" fmla="*/ 2147483647 w 324"/>
                  <a:gd name="T13" fmla="*/ 2147483647 h 330"/>
                  <a:gd name="T14" fmla="*/ 2147483647 w 324"/>
                  <a:gd name="T15" fmla="*/ 2147483647 h 330"/>
                  <a:gd name="T16" fmla="*/ 2147483647 w 324"/>
                  <a:gd name="T17" fmla="*/ 2147483647 h 330"/>
                  <a:gd name="T18" fmla="*/ 2147483647 w 324"/>
                  <a:gd name="T19" fmla="*/ 2147483647 h 330"/>
                  <a:gd name="T20" fmla="*/ 2147483647 w 324"/>
                  <a:gd name="T21" fmla="*/ 2147483647 h 330"/>
                  <a:gd name="T22" fmla="*/ 2147483647 w 324"/>
                  <a:gd name="T23" fmla="*/ 2147483647 h 330"/>
                  <a:gd name="T24" fmla="*/ 2147483647 w 324"/>
                  <a:gd name="T25" fmla="*/ 2147483647 h 330"/>
                  <a:gd name="T26" fmla="*/ 2147483647 w 324"/>
                  <a:gd name="T27" fmla="*/ 2147483647 h 330"/>
                  <a:gd name="T28" fmla="*/ 2147483647 w 324"/>
                  <a:gd name="T29" fmla="*/ 2147483647 h 330"/>
                  <a:gd name="T30" fmla="*/ 2147483647 w 324"/>
                  <a:gd name="T31" fmla="*/ 2147483647 h 330"/>
                  <a:gd name="T32" fmla="*/ 2147483647 w 324"/>
                  <a:gd name="T33" fmla="*/ 2147483647 h 330"/>
                  <a:gd name="T34" fmla="*/ 2147483647 w 324"/>
                  <a:gd name="T35" fmla="*/ 2147483647 h 330"/>
                  <a:gd name="T36" fmla="*/ 2147483647 w 324"/>
                  <a:gd name="T37" fmla="*/ 2147483647 h 330"/>
                  <a:gd name="T38" fmla="*/ 2147483647 w 324"/>
                  <a:gd name="T39" fmla="*/ 2147483647 h 330"/>
                  <a:gd name="T40" fmla="*/ 2147483647 w 324"/>
                  <a:gd name="T41" fmla="*/ 2147483647 h 330"/>
                  <a:gd name="T42" fmla="*/ 2147483647 w 324"/>
                  <a:gd name="T43" fmla="*/ 2147483647 h 330"/>
                  <a:gd name="T44" fmla="*/ 2147483647 w 324"/>
                  <a:gd name="T45" fmla="*/ 2147483647 h 330"/>
                  <a:gd name="T46" fmla="*/ 2147483647 w 324"/>
                  <a:gd name="T47" fmla="*/ 2147483647 h 330"/>
                  <a:gd name="T48" fmla="*/ 2147483647 w 324"/>
                  <a:gd name="T49" fmla="*/ 2147483647 h 330"/>
                  <a:gd name="T50" fmla="*/ 2147483647 w 324"/>
                  <a:gd name="T51" fmla="*/ 2147483647 h 330"/>
                  <a:gd name="T52" fmla="*/ 2147483647 w 324"/>
                  <a:gd name="T53" fmla="*/ 2147483647 h 330"/>
                  <a:gd name="T54" fmla="*/ 2147483647 w 324"/>
                  <a:gd name="T55" fmla="*/ 2147483647 h 330"/>
                  <a:gd name="T56" fmla="*/ 2147483647 w 324"/>
                  <a:gd name="T57" fmla="*/ 2147483647 h 330"/>
                  <a:gd name="T58" fmla="*/ 2147483647 w 324"/>
                  <a:gd name="T59" fmla="*/ 2147483647 h 330"/>
                  <a:gd name="T60" fmla="*/ 2147483647 w 324"/>
                  <a:gd name="T61" fmla="*/ 2147483647 h 330"/>
                  <a:gd name="T62" fmla="*/ 2147483647 w 324"/>
                  <a:gd name="T63" fmla="*/ 2147483647 h 330"/>
                  <a:gd name="T64" fmla="*/ 2147483647 w 324"/>
                  <a:gd name="T65" fmla="*/ 2147483647 h 330"/>
                  <a:gd name="T66" fmla="*/ 2147483647 w 324"/>
                  <a:gd name="T67" fmla="*/ 2147483647 h 330"/>
                  <a:gd name="T68" fmla="*/ 2147483647 w 324"/>
                  <a:gd name="T69" fmla="*/ 2147483647 h 330"/>
                  <a:gd name="T70" fmla="*/ 2147483647 w 324"/>
                  <a:gd name="T71" fmla="*/ 2147483647 h 330"/>
                  <a:gd name="T72" fmla="*/ 2147483647 w 324"/>
                  <a:gd name="T73" fmla="*/ 2147483647 h 330"/>
                  <a:gd name="T74" fmla="*/ 2147483647 w 324"/>
                  <a:gd name="T75" fmla="*/ 2147483647 h 330"/>
                  <a:gd name="T76" fmla="*/ 2147483647 w 324"/>
                  <a:gd name="T77" fmla="*/ 2147483647 h 330"/>
                  <a:gd name="T78" fmla="*/ 2147483647 w 324"/>
                  <a:gd name="T79" fmla="*/ 2147483647 h 330"/>
                  <a:gd name="T80" fmla="*/ 2147483647 w 324"/>
                  <a:gd name="T81" fmla="*/ 2147483647 h 33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24"/>
                  <a:gd name="T124" fmla="*/ 0 h 330"/>
                  <a:gd name="T125" fmla="*/ 324 w 324"/>
                  <a:gd name="T126" fmla="*/ 330 h 330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24" h="330">
                    <a:moveTo>
                      <a:pt x="324" y="18"/>
                    </a:moveTo>
                    <a:lnTo>
                      <a:pt x="318" y="12"/>
                    </a:lnTo>
                    <a:lnTo>
                      <a:pt x="318" y="6"/>
                    </a:lnTo>
                    <a:lnTo>
                      <a:pt x="312" y="0"/>
                    </a:lnTo>
                    <a:lnTo>
                      <a:pt x="264" y="0"/>
                    </a:lnTo>
                    <a:lnTo>
                      <a:pt x="264" y="6"/>
                    </a:lnTo>
                    <a:lnTo>
                      <a:pt x="252" y="18"/>
                    </a:lnTo>
                    <a:lnTo>
                      <a:pt x="240" y="18"/>
                    </a:lnTo>
                    <a:lnTo>
                      <a:pt x="222" y="0"/>
                    </a:lnTo>
                    <a:lnTo>
                      <a:pt x="210" y="0"/>
                    </a:lnTo>
                    <a:lnTo>
                      <a:pt x="198" y="12"/>
                    </a:lnTo>
                    <a:lnTo>
                      <a:pt x="198" y="30"/>
                    </a:lnTo>
                    <a:lnTo>
                      <a:pt x="180" y="30"/>
                    </a:lnTo>
                    <a:lnTo>
                      <a:pt x="168" y="54"/>
                    </a:lnTo>
                    <a:lnTo>
                      <a:pt x="144" y="78"/>
                    </a:lnTo>
                    <a:lnTo>
                      <a:pt x="126" y="78"/>
                    </a:lnTo>
                    <a:lnTo>
                      <a:pt x="120" y="72"/>
                    </a:lnTo>
                    <a:lnTo>
                      <a:pt x="120" y="66"/>
                    </a:lnTo>
                    <a:lnTo>
                      <a:pt x="108" y="66"/>
                    </a:lnTo>
                    <a:lnTo>
                      <a:pt x="102" y="72"/>
                    </a:lnTo>
                    <a:lnTo>
                      <a:pt x="96" y="84"/>
                    </a:lnTo>
                    <a:lnTo>
                      <a:pt x="60" y="84"/>
                    </a:lnTo>
                    <a:lnTo>
                      <a:pt x="54" y="90"/>
                    </a:lnTo>
                    <a:lnTo>
                      <a:pt x="54" y="102"/>
                    </a:lnTo>
                    <a:lnTo>
                      <a:pt x="60" y="108"/>
                    </a:lnTo>
                    <a:lnTo>
                      <a:pt x="60" y="120"/>
                    </a:lnTo>
                    <a:lnTo>
                      <a:pt x="66" y="126"/>
                    </a:lnTo>
                    <a:lnTo>
                      <a:pt x="48" y="126"/>
                    </a:lnTo>
                    <a:lnTo>
                      <a:pt x="48" y="144"/>
                    </a:lnTo>
                    <a:lnTo>
                      <a:pt x="36" y="150"/>
                    </a:lnTo>
                    <a:lnTo>
                      <a:pt x="0" y="150"/>
                    </a:lnTo>
                    <a:lnTo>
                      <a:pt x="48" y="204"/>
                    </a:lnTo>
                    <a:lnTo>
                      <a:pt x="48" y="210"/>
                    </a:lnTo>
                    <a:lnTo>
                      <a:pt x="54" y="216"/>
                    </a:lnTo>
                    <a:lnTo>
                      <a:pt x="54" y="228"/>
                    </a:lnTo>
                    <a:lnTo>
                      <a:pt x="66" y="252"/>
                    </a:lnTo>
                    <a:lnTo>
                      <a:pt x="72" y="258"/>
                    </a:lnTo>
                    <a:lnTo>
                      <a:pt x="96" y="270"/>
                    </a:lnTo>
                    <a:lnTo>
                      <a:pt x="108" y="282"/>
                    </a:lnTo>
                    <a:lnTo>
                      <a:pt x="114" y="294"/>
                    </a:lnTo>
                    <a:lnTo>
                      <a:pt x="138" y="294"/>
                    </a:lnTo>
                    <a:lnTo>
                      <a:pt x="132" y="294"/>
                    </a:lnTo>
                    <a:lnTo>
                      <a:pt x="120" y="282"/>
                    </a:lnTo>
                    <a:lnTo>
                      <a:pt x="120" y="276"/>
                    </a:lnTo>
                    <a:lnTo>
                      <a:pt x="126" y="270"/>
                    </a:lnTo>
                    <a:lnTo>
                      <a:pt x="138" y="270"/>
                    </a:lnTo>
                    <a:lnTo>
                      <a:pt x="138" y="264"/>
                    </a:lnTo>
                    <a:lnTo>
                      <a:pt x="132" y="258"/>
                    </a:lnTo>
                    <a:lnTo>
                      <a:pt x="126" y="258"/>
                    </a:lnTo>
                    <a:lnTo>
                      <a:pt x="120" y="264"/>
                    </a:lnTo>
                    <a:lnTo>
                      <a:pt x="114" y="264"/>
                    </a:lnTo>
                    <a:lnTo>
                      <a:pt x="114" y="222"/>
                    </a:lnTo>
                    <a:lnTo>
                      <a:pt x="120" y="222"/>
                    </a:lnTo>
                    <a:lnTo>
                      <a:pt x="132" y="228"/>
                    </a:lnTo>
                    <a:lnTo>
                      <a:pt x="144" y="240"/>
                    </a:lnTo>
                    <a:lnTo>
                      <a:pt x="156" y="246"/>
                    </a:lnTo>
                    <a:lnTo>
                      <a:pt x="180" y="270"/>
                    </a:lnTo>
                    <a:lnTo>
                      <a:pt x="192" y="306"/>
                    </a:lnTo>
                    <a:lnTo>
                      <a:pt x="210" y="306"/>
                    </a:lnTo>
                    <a:lnTo>
                      <a:pt x="216" y="312"/>
                    </a:lnTo>
                    <a:lnTo>
                      <a:pt x="222" y="312"/>
                    </a:lnTo>
                    <a:lnTo>
                      <a:pt x="222" y="318"/>
                    </a:lnTo>
                    <a:lnTo>
                      <a:pt x="234" y="330"/>
                    </a:lnTo>
                    <a:lnTo>
                      <a:pt x="270" y="330"/>
                    </a:lnTo>
                    <a:lnTo>
                      <a:pt x="270" y="324"/>
                    </a:lnTo>
                    <a:lnTo>
                      <a:pt x="258" y="312"/>
                    </a:lnTo>
                    <a:lnTo>
                      <a:pt x="252" y="300"/>
                    </a:lnTo>
                    <a:lnTo>
                      <a:pt x="252" y="276"/>
                    </a:lnTo>
                    <a:lnTo>
                      <a:pt x="264" y="264"/>
                    </a:lnTo>
                    <a:lnTo>
                      <a:pt x="270" y="264"/>
                    </a:lnTo>
                    <a:lnTo>
                      <a:pt x="270" y="246"/>
                    </a:lnTo>
                    <a:lnTo>
                      <a:pt x="264" y="234"/>
                    </a:lnTo>
                    <a:lnTo>
                      <a:pt x="264" y="222"/>
                    </a:lnTo>
                    <a:lnTo>
                      <a:pt x="270" y="174"/>
                    </a:lnTo>
                    <a:lnTo>
                      <a:pt x="282" y="192"/>
                    </a:lnTo>
                    <a:lnTo>
                      <a:pt x="288" y="108"/>
                    </a:lnTo>
                    <a:lnTo>
                      <a:pt x="288" y="102"/>
                    </a:lnTo>
                    <a:lnTo>
                      <a:pt x="294" y="96"/>
                    </a:lnTo>
                    <a:lnTo>
                      <a:pt x="306" y="72"/>
                    </a:lnTo>
                    <a:lnTo>
                      <a:pt x="312" y="66"/>
                    </a:lnTo>
                    <a:lnTo>
                      <a:pt x="324" y="42"/>
                    </a:lnTo>
                    <a:lnTo>
                      <a:pt x="324" y="18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7" name="Mexico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00731EC-809A-4BC4-B09E-2857BB0F695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0" y="0"/>
                <a:ext cx="667700" cy="523408"/>
              </a:xfrm>
              <a:custGeom>
                <a:avLst/>
                <a:gdLst>
                  <a:gd name="T0" fmla="*/ 2147483647 w 1860"/>
                  <a:gd name="T1" fmla="*/ 2147483647 h 1458"/>
                  <a:gd name="T2" fmla="*/ 2147483647 w 1860"/>
                  <a:gd name="T3" fmla="*/ 2147483647 h 1458"/>
                  <a:gd name="T4" fmla="*/ 2147483647 w 1860"/>
                  <a:gd name="T5" fmla="*/ 2147483647 h 1458"/>
                  <a:gd name="T6" fmla="*/ 2147483647 w 1860"/>
                  <a:gd name="T7" fmla="*/ 2147483647 h 1458"/>
                  <a:gd name="T8" fmla="*/ 2147483647 w 1860"/>
                  <a:gd name="T9" fmla="*/ 2147483647 h 1458"/>
                  <a:gd name="T10" fmla="*/ 2147483647 w 1860"/>
                  <a:gd name="T11" fmla="*/ 2147483647 h 1458"/>
                  <a:gd name="T12" fmla="*/ 2147483647 w 1860"/>
                  <a:gd name="T13" fmla="*/ 2147483647 h 1458"/>
                  <a:gd name="T14" fmla="*/ 2147483647 w 1860"/>
                  <a:gd name="T15" fmla="*/ 2147483647 h 1458"/>
                  <a:gd name="T16" fmla="*/ 2147483647 w 1860"/>
                  <a:gd name="T17" fmla="*/ 2147483647 h 1458"/>
                  <a:gd name="T18" fmla="*/ 2147483647 w 1860"/>
                  <a:gd name="T19" fmla="*/ 2147483647 h 1458"/>
                  <a:gd name="T20" fmla="*/ 2147483647 w 1860"/>
                  <a:gd name="T21" fmla="*/ 2147483647 h 1458"/>
                  <a:gd name="T22" fmla="*/ 2147483647 w 1860"/>
                  <a:gd name="T23" fmla="*/ 2147483647 h 1458"/>
                  <a:gd name="T24" fmla="*/ 2147483647 w 1860"/>
                  <a:gd name="T25" fmla="*/ 2147483647 h 1458"/>
                  <a:gd name="T26" fmla="*/ 2147483647 w 1860"/>
                  <a:gd name="T27" fmla="*/ 2147483647 h 1458"/>
                  <a:gd name="T28" fmla="*/ 2147483647 w 1860"/>
                  <a:gd name="T29" fmla="*/ 2147483647 h 1458"/>
                  <a:gd name="T30" fmla="*/ 2147483647 w 1860"/>
                  <a:gd name="T31" fmla="*/ 2147483647 h 1458"/>
                  <a:gd name="T32" fmla="*/ 2147483647 w 1860"/>
                  <a:gd name="T33" fmla="*/ 2147483647 h 1458"/>
                  <a:gd name="T34" fmla="*/ 2147483647 w 1860"/>
                  <a:gd name="T35" fmla="*/ 2147483647 h 1458"/>
                  <a:gd name="T36" fmla="*/ 2147483647 w 1860"/>
                  <a:gd name="T37" fmla="*/ 2147483647 h 1458"/>
                  <a:gd name="T38" fmla="*/ 2147483647 w 1860"/>
                  <a:gd name="T39" fmla="*/ 2147483647 h 1458"/>
                  <a:gd name="T40" fmla="*/ 2147483647 w 1860"/>
                  <a:gd name="T41" fmla="*/ 2147483647 h 1458"/>
                  <a:gd name="T42" fmla="*/ 2147483647 w 1860"/>
                  <a:gd name="T43" fmla="*/ 2147483647 h 1458"/>
                  <a:gd name="T44" fmla="*/ 2147483647 w 1860"/>
                  <a:gd name="T45" fmla="*/ 2147483647 h 1458"/>
                  <a:gd name="T46" fmla="*/ 2147483647 w 1860"/>
                  <a:gd name="T47" fmla="*/ 2147483647 h 1458"/>
                  <a:gd name="T48" fmla="*/ 2147483647 w 1860"/>
                  <a:gd name="T49" fmla="*/ 2147483647 h 1458"/>
                  <a:gd name="T50" fmla="*/ 2147483647 w 1860"/>
                  <a:gd name="T51" fmla="*/ 2147483647 h 1458"/>
                  <a:gd name="T52" fmla="*/ 2147483647 w 1860"/>
                  <a:gd name="T53" fmla="*/ 2147483647 h 1458"/>
                  <a:gd name="T54" fmla="*/ 2147483647 w 1860"/>
                  <a:gd name="T55" fmla="*/ 2147483647 h 1458"/>
                  <a:gd name="T56" fmla="*/ 0 w 1860"/>
                  <a:gd name="T57" fmla="*/ 2147483647 h 1458"/>
                  <a:gd name="T58" fmla="*/ 2147483647 w 1860"/>
                  <a:gd name="T59" fmla="*/ 2147483647 h 1458"/>
                  <a:gd name="T60" fmla="*/ 2147483647 w 1860"/>
                  <a:gd name="T61" fmla="*/ 2147483647 h 1458"/>
                  <a:gd name="T62" fmla="*/ 2147483647 w 1860"/>
                  <a:gd name="T63" fmla="*/ 2147483647 h 1458"/>
                  <a:gd name="T64" fmla="*/ 2147483647 w 1860"/>
                  <a:gd name="T65" fmla="*/ 2147483647 h 1458"/>
                  <a:gd name="T66" fmla="*/ 2147483647 w 1860"/>
                  <a:gd name="T67" fmla="*/ 2147483647 h 1458"/>
                  <a:gd name="T68" fmla="*/ 2147483647 w 1860"/>
                  <a:gd name="T69" fmla="*/ 2147483647 h 1458"/>
                  <a:gd name="T70" fmla="*/ 2147483647 w 1860"/>
                  <a:gd name="T71" fmla="*/ 2147483647 h 1458"/>
                  <a:gd name="T72" fmla="*/ 2147483647 w 1860"/>
                  <a:gd name="T73" fmla="*/ 2147483647 h 1458"/>
                  <a:gd name="T74" fmla="*/ 2147483647 w 1860"/>
                  <a:gd name="T75" fmla="*/ 2147483647 h 1458"/>
                  <a:gd name="T76" fmla="*/ 2147483647 w 1860"/>
                  <a:gd name="T77" fmla="*/ 2147483647 h 1458"/>
                  <a:gd name="T78" fmla="*/ 2147483647 w 1860"/>
                  <a:gd name="T79" fmla="*/ 2147483647 h 1458"/>
                  <a:gd name="T80" fmla="*/ 2147483647 w 1860"/>
                  <a:gd name="T81" fmla="*/ 2147483647 h 1458"/>
                  <a:gd name="T82" fmla="*/ 2147483647 w 1860"/>
                  <a:gd name="T83" fmla="*/ 2147483647 h 1458"/>
                  <a:gd name="T84" fmla="*/ 2147483647 w 1860"/>
                  <a:gd name="T85" fmla="*/ 2147483647 h 1458"/>
                  <a:gd name="T86" fmla="*/ 2147483647 w 1860"/>
                  <a:gd name="T87" fmla="*/ 2147483647 h 1458"/>
                  <a:gd name="T88" fmla="*/ 2147483647 w 1860"/>
                  <a:gd name="T89" fmla="*/ 2147483647 h 1458"/>
                  <a:gd name="T90" fmla="*/ 2147483647 w 1860"/>
                  <a:gd name="T91" fmla="*/ 2147483647 h 1458"/>
                  <a:gd name="T92" fmla="*/ 2147483647 w 1860"/>
                  <a:gd name="T93" fmla="*/ 2147483647 h 1458"/>
                  <a:gd name="T94" fmla="*/ 2147483647 w 1860"/>
                  <a:gd name="T95" fmla="*/ 2147483647 h 1458"/>
                  <a:gd name="T96" fmla="*/ 2147483647 w 1860"/>
                  <a:gd name="T97" fmla="*/ 2147483647 h 1458"/>
                  <a:gd name="T98" fmla="*/ 2147483647 w 1860"/>
                  <a:gd name="T99" fmla="*/ 2147483647 h 1458"/>
                  <a:gd name="T100" fmla="*/ 2147483647 w 1860"/>
                  <a:gd name="T101" fmla="*/ 2147483647 h 1458"/>
                  <a:gd name="T102" fmla="*/ 2147483647 w 1860"/>
                  <a:gd name="T103" fmla="*/ 2147483647 h 1458"/>
                  <a:gd name="T104" fmla="*/ 2147483647 w 1860"/>
                  <a:gd name="T105" fmla="*/ 2147483647 h 1458"/>
                  <a:gd name="T106" fmla="*/ 2147483647 w 1860"/>
                  <a:gd name="T107" fmla="*/ 2147483647 h 1458"/>
                  <a:gd name="T108" fmla="*/ 2147483647 w 1860"/>
                  <a:gd name="T109" fmla="*/ 2147483647 h 1458"/>
                  <a:gd name="T110" fmla="*/ 2147483647 w 1860"/>
                  <a:gd name="T111" fmla="*/ 2147483647 h 1458"/>
                  <a:gd name="T112" fmla="*/ 2147483647 w 1860"/>
                  <a:gd name="T113" fmla="*/ 2147483647 h 1458"/>
                  <a:gd name="T114" fmla="*/ 2147483647 w 1860"/>
                  <a:gd name="T115" fmla="*/ 2147483647 h 1458"/>
                  <a:gd name="T116" fmla="*/ 2147483647 w 1860"/>
                  <a:gd name="T117" fmla="*/ 2147483647 h 1458"/>
                  <a:gd name="T118" fmla="*/ 2147483647 w 1860"/>
                  <a:gd name="T119" fmla="*/ 2147483647 h 1458"/>
                  <a:gd name="T120" fmla="*/ 2147483647 w 1860"/>
                  <a:gd name="T121" fmla="*/ 2147483647 h 145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860"/>
                  <a:gd name="T184" fmla="*/ 0 h 1458"/>
                  <a:gd name="T185" fmla="*/ 1860 w 1860"/>
                  <a:gd name="T186" fmla="*/ 1458 h 145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860" h="1458">
                    <a:moveTo>
                      <a:pt x="1422" y="1440"/>
                    </a:moveTo>
                    <a:lnTo>
                      <a:pt x="1422" y="1380"/>
                    </a:lnTo>
                    <a:lnTo>
                      <a:pt x="1452" y="1332"/>
                    </a:lnTo>
                    <a:lnTo>
                      <a:pt x="1542" y="1338"/>
                    </a:lnTo>
                    <a:lnTo>
                      <a:pt x="1542" y="1320"/>
                    </a:lnTo>
                    <a:lnTo>
                      <a:pt x="1548" y="1320"/>
                    </a:lnTo>
                    <a:lnTo>
                      <a:pt x="1554" y="1314"/>
                    </a:lnTo>
                    <a:lnTo>
                      <a:pt x="1554" y="1302"/>
                    </a:lnTo>
                    <a:lnTo>
                      <a:pt x="1536" y="1302"/>
                    </a:lnTo>
                    <a:lnTo>
                      <a:pt x="1530" y="1278"/>
                    </a:lnTo>
                    <a:lnTo>
                      <a:pt x="1524" y="1278"/>
                    </a:lnTo>
                    <a:lnTo>
                      <a:pt x="1512" y="1272"/>
                    </a:lnTo>
                    <a:lnTo>
                      <a:pt x="1506" y="1272"/>
                    </a:lnTo>
                    <a:lnTo>
                      <a:pt x="1500" y="1266"/>
                    </a:lnTo>
                    <a:lnTo>
                      <a:pt x="1494" y="1254"/>
                    </a:lnTo>
                    <a:lnTo>
                      <a:pt x="1494" y="1248"/>
                    </a:lnTo>
                    <a:lnTo>
                      <a:pt x="1482" y="1242"/>
                    </a:lnTo>
                    <a:lnTo>
                      <a:pt x="1506" y="1242"/>
                    </a:lnTo>
                    <a:lnTo>
                      <a:pt x="1518" y="1236"/>
                    </a:lnTo>
                    <a:lnTo>
                      <a:pt x="1524" y="1236"/>
                    </a:lnTo>
                    <a:lnTo>
                      <a:pt x="1524" y="1212"/>
                    </a:lnTo>
                    <a:lnTo>
                      <a:pt x="1518" y="1200"/>
                    </a:lnTo>
                    <a:lnTo>
                      <a:pt x="1518" y="1188"/>
                    </a:lnTo>
                    <a:lnTo>
                      <a:pt x="1650" y="1194"/>
                    </a:lnTo>
                    <a:lnTo>
                      <a:pt x="1656" y="1182"/>
                    </a:lnTo>
                    <a:lnTo>
                      <a:pt x="1656" y="1176"/>
                    </a:lnTo>
                    <a:lnTo>
                      <a:pt x="1662" y="1176"/>
                    </a:lnTo>
                    <a:lnTo>
                      <a:pt x="1668" y="1182"/>
                    </a:lnTo>
                    <a:lnTo>
                      <a:pt x="1668" y="1188"/>
                    </a:lnTo>
                    <a:lnTo>
                      <a:pt x="1674" y="1188"/>
                    </a:lnTo>
                    <a:lnTo>
                      <a:pt x="1680" y="1182"/>
                    </a:lnTo>
                    <a:lnTo>
                      <a:pt x="1692" y="1176"/>
                    </a:lnTo>
                    <a:lnTo>
                      <a:pt x="1698" y="1164"/>
                    </a:lnTo>
                    <a:lnTo>
                      <a:pt x="1698" y="1152"/>
                    </a:lnTo>
                    <a:lnTo>
                      <a:pt x="1704" y="1146"/>
                    </a:lnTo>
                    <a:lnTo>
                      <a:pt x="1704" y="1140"/>
                    </a:lnTo>
                    <a:lnTo>
                      <a:pt x="1710" y="1152"/>
                    </a:lnTo>
                    <a:lnTo>
                      <a:pt x="1746" y="1116"/>
                    </a:lnTo>
                    <a:lnTo>
                      <a:pt x="1746" y="1122"/>
                    </a:lnTo>
                    <a:lnTo>
                      <a:pt x="1740" y="1128"/>
                    </a:lnTo>
                    <a:lnTo>
                      <a:pt x="1740" y="1146"/>
                    </a:lnTo>
                    <a:lnTo>
                      <a:pt x="1746" y="1152"/>
                    </a:lnTo>
                    <a:lnTo>
                      <a:pt x="1758" y="1152"/>
                    </a:lnTo>
                    <a:lnTo>
                      <a:pt x="1782" y="1086"/>
                    </a:lnTo>
                    <a:lnTo>
                      <a:pt x="1770" y="1074"/>
                    </a:lnTo>
                    <a:lnTo>
                      <a:pt x="1794" y="1068"/>
                    </a:lnTo>
                    <a:lnTo>
                      <a:pt x="1794" y="1056"/>
                    </a:lnTo>
                    <a:lnTo>
                      <a:pt x="1776" y="1050"/>
                    </a:lnTo>
                    <a:lnTo>
                      <a:pt x="1794" y="1032"/>
                    </a:lnTo>
                    <a:lnTo>
                      <a:pt x="1800" y="1008"/>
                    </a:lnTo>
                    <a:lnTo>
                      <a:pt x="1806" y="996"/>
                    </a:lnTo>
                    <a:lnTo>
                      <a:pt x="1818" y="990"/>
                    </a:lnTo>
                    <a:lnTo>
                      <a:pt x="1824" y="978"/>
                    </a:lnTo>
                    <a:lnTo>
                      <a:pt x="1836" y="966"/>
                    </a:lnTo>
                    <a:lnTo>
                      <a:pt x="1842" y="954"/>
                    </a:lnTo>
                    <a:lnTo>
                      <a:pt x="1848" y="948"/>
                    </a:lnTo>
                    <a:lnTo>
                      <a:pt x="1854" y="936"/>
                    </a:lnTo>
                    <a:lnTo>
                      <a:pt x="1854" y="930"/>
                    </a:lnTo>
                    <a:lnTo>
                      <a:pt x="1860" y="918"/>
                    </a:lnTo>
                    <a:lnTo>
                      <a:pt x="1860" y="900"/>
                    </a:lnTo>
                    <a:lnTo>
                      <a:pt x="1854" y="894"/>
                    </a:lnTo>
                    <a:lnTo>
                      <a:pt x="1818" y="894"/>
                    </a:lnTo>
                    <a:lnTo>
                      <a:pt x="1812" y="900"/>
                    </a:lnTo>
                    <a:lnTo>
                      <a:pt x="1800" y="900"/>
                    </a:lnTo>
                    <a:lnTo>
                      <a:pt x="1794" y="894"/>
                    </a:lnTo>
                    <a:lnTo>
                      <a:pt x="1782" y="894"/>
                    </a:lnTo>
                    <a:lnTo>
                      <a:pt x="1770" y="888"/>
                    </a:lnTo>
                    <a:lnTo>
                      <a:pt x="1746" y="888"/>
                    </a:lnTo>
                    <a:lnTo>
                      <a:pt x="1734" y="894"/>
                    </a:lnTo>
                    <a:lnTo>
                      <a:pt x="1716" y="900"/>
                    </a:lnTo>
                    <a:lnTo>
                      <a:pt x="1698" y="900"/>
                    </a:lnTo>
                    <a:lnTo>
                      <a:pt x="1686" y="906"/>
                    </a:lnTo>
                    <a:lnTo>
                      <a:pt x="1668" y="906"/>
                    </a:lnTo>
                    <a:lnTo>
                      <a:pt x="1656" y="912"/>
                    </a:lnTo>
                    <a:lnTo>
                      <a:pt x="1626" y="912"/>
                    </a:lnTo>
                    <a:lnTo>
                      <a:pt x="1614" y="918"/>
                    </a:lnTo>
                    <a:lnTo>
                      <a:pt x="1608" y="924"/>
                    </a:lnTo>
                    <a:lnTo>
                      <a:pt x="1596" y="948"/>
                    </a:lnTo>
                    <a:lnTo>
                      <a:pt x="1590" y="966"/>
                    </a:lnTo>
                    <a:lnTo>
                      <a:pt x="1590" y="1026"/>
                    </a:lnTo>
                    <a:lnTo>
                      <a:pt x="1572" y="1032"/>
                    </a:lnTo>
                    <a:lnTo>
                      <a:pt x="1572" y="1062"/>
                    </a:lnTo>
                    <a:lnTo>
                      <a:pt x="1566" y="1074"/>
                    </a:lnTo>
                    <a:lnTo>
                      <a:pt x="1542" y="1086"/>
                    </a:lnTo>
                    <a:lnTo>
                      <a:pt x="1524" y="1098"/>
                    </a:lnTo>
                    <a:lnTo>
                      <a:pt x="1512" y="1110"/>
                    </a:lnTo>
                    <a:lnTo>
                      <a:pt x="1512" y="1122"/>
                    </a:lnTo>
                    <a:lnTo>
                      <a:pt x="1506" y="1128"/>
                    </a:lnTo>
                    <a:lnTo>
                      <a:pt x="1506" y="1140"/>
                    </a:lnTo>
                    <a:lnTo>
                      <a:pt x="1500" y="1146"/>
                    </a:lnTo>
                    <a:lnTo>
                      <a:pt x="1488" y="1146"/>
                    </a:lnTo>
                    <a:lnTo>
                      <a:pt x="1476" y="1134"/>
                    </a:lnTo>
                    <a:lnTo>
                      <a:pt x="1476" y="1128"/>
                    </a:lnTo>
                    <a:lnTo>
                      <a:pt x="1470" y="1122"/>
                    </a:lnTo>
                    <a:lnTo>
                      <a:pt x="1440" y="1122"/>
                    </a:lnTo>
                    <a:lnTo>
                      <a:pt x="1416" y="1128"/>
                    </a:lnTo>
                    <a:lnTo>
                      <a:pt x="1392" y="1140"/>
                    </a:lnTo>
                    <a:lnTo>
                      <a:pt x="1356" y="1140"/>
                    </a:lnTo>
                    <a:lnTo>
                      <a:pt x="1338" y="1146"/>
                    </a:lnTo>
                    <a:lnTo>
                      <a:pt x="1290" y="1170"/>
                    </a:lnTo>
                    <a:lnTo>
                      <a:pt x="1284" y="1170"/>
                    </a:lnTo>
                    <a:lnTo>
                      <a:pt x="1272" y="1158"/>
                    </a:lnTo>
                    <a:lnTo>
                      <a:pt x="1266" y="1146"/>
                    </a:lnTo>
                    <a:lnTo>
                      <a:pt x="1266" y="1140"/>
                    </a:lnTo>
                    <a:lnTo>
                      <a:pt x="1260" y="1128"/>
                    </a:lnTo>
                    <a:lnTo>
                      <a:pt x="1242" y="1128"/>
                    </a:lnTo>
                    <a:lnTo>
                      <a:pt x="1224" y="1122"/>
                    </a:lnTo>
                    <a:lnTo>
                      <a:pt x="1194" y="1122"/>
                    </a:lnTo>
                    <a:lnTo>
                      <a:pt x="1194" y="1104"/>
                    </a:lnTo>
                    <a:lnTo>
                      <a:pt x="1188" y="1092"/>
                    </a:lnTo>
                    <a:lnTo>
                      <a:pt x="1176" y="1080"/>
                    </a:lnTo>
                    <a:lnTo>
                      <a:pt x="1170" y="1068"/>
                    </a:lnTo>
                    <a:lnTo>
                      <a:pt x="1164" y="1062"/>
                    </a:lnTo>
                    <a:lnTo>
                      <a:pt x="1164" y="1026"/>
                    </a:lnTo>
                    <a:lnTo>
                      <a:pt x="1128" y="966"/>
                    </a:lnTo>
                    <a:lnTo>
                      <a:pt x="1122" y="924"/>
                    </a:lnTo>
                    <a:lnTo>
                      <a:pt x="1110" y="894"/>
                    </a:lnTo>
                    <a:lnTo>
                      <a:pt x="1104" y="804"/>
                    </a:lnTo>
                    <a:lnTo>
                      <a:pt x="1110" y="798"/>
                    </a:lnTo>
                    <a:lnTo>
                      <a:pt x="1122" y="774"/>
                    </a:lnTo>
                    <a:lnTo>
                      <a:pt x="1128" y="768"/>
                    </a:lnTo>
                    <a:lnTo>
                      <a:pt x="1128" y="654"/>
                    </a:lnTo>
                    <a:lnTo>
                      <a:pt x="1152" y="648"/>
                    </a:lnTo>
                    <a:lnTo>
                      <a:pt x="1152" y="612"/>
                    </a:lnTo>
                    <a:lnTo>
                      <a:pt x="1158" y="600"/>
                    </a:lnTo>
                    <a:lnTo>
                      <a:pt x="1158" y="594"/>
                    </a:lnTo>
                    <a:lnTo>
                      <a:pt x="1164" y="588"/>
                    </a:lnTo>
                    <a:lnTo>
                      <a:pt x="1176" y="588"/>
                    </a:lnTo>
                    <a:lnTo>
                      <a:pt x="1182" y="594"/>
                    </a:lnTo>
                    <a:lnTo>
                      <a:pt x="1188" y="594"/>
                    </a:lnTo>
                    <a:lnTo>
                      <a:pt x="1188" y="588"/>
                    </a:lnTo>
                    <a:lnTo>
                      <a:pt x="1194" y="576"/>
                    </a:lnTo>
                    <a:lnTo>
                      <a:pt x="1194" y="564"/>
                    </a:lnTo>
                    <a:lnTo>
                      <a:pt x="1200" y="558"/>
                    </a:lnTo>
                    <a:lnTo>
                      <a:pt x="1206" y="546"/>
                    </a:lnTo>
                    <a:lnTo>
                      <a:pt x="1206" y="540"/>
                    </a:lnTo>
                    <a:lnTo>
                      <a:pt x="1206" y="546"/>
                    </a:lnTo>
                    <a:lnTo>
                      <a:pt x="1182" y="546"/>
                    </a:lnTo>
                    <a:lnTo>
                      <a:pt x="1176" y="534"/>
                    </a:lnTo>
                    <a:lnTo>
                      <a:pt x="1176" y="528"/>
                    </a:lnTo>
                    <a:lnTo>
                      <a:pt x="1134" y="528"/>
                    </a:lnTo>
                    <a:lnTo>
                      <a:pt x="1122" y="516"/>
                    </a:lnTo>
                    <a:lnTo>
                      <a:pt x="1110" y="516"/>
                    </a:lnTo>
                    <a:lnTo>
                      <a:pt x="1092" y="510"/>
                    </a:lnTo>
                    <a:lnTo>
                      <a:pt x="1080" y="498"/>
                    </a:lnTo>
                    <a:lnTo>
                      <a:pt x="1080" y="468"/>
                    </a:lnTo>
                    <a:lnTo>
                      <a:pt x="1068" y="456"/>
                    </a:lnTo>
                    <a:lnTo>
                      <a:pt x="1068" y="420"/>
                    </a:lnTo>
                    <a:lnTo>
                      <a:pt x="1074" y="420"/>
                    </a:lnTo>
                    <a:lnTo>
                      <a:pt x="1080" y="414"/>
                    </a:lnTo>
                    <a:lnTo>
                      <a:pt x="1080" y="408"/>
                    </a:lnTo>
                    <a:lnTo>
                      <a:pt x="1068" y="396"/>
                    </a:lnTo>
                    <a:lnTo>
                      <a:pt x="1056" y="390"/>
                    </a:lnTo>
                    <a:lnTo>
                      <a:pt x="1050" y="384"/>
                    </a:lnTo>
                    <a:lnTo>
                      <a:pt x="1050" y="360"/>
                    </a:lnTo>
                    <a:lnTo>
                      <a:pt x="1038" y="354"/>
                    </a:lnTo>
                    <a:lnTo>
                      <a:pt x="1032" y="342"/>
                    </a:lnTo>
                    <a:lnTo>
                      <a:pt x="1032" y="330"/>
                    </a:lnTo>
                    <a:lnTo>
                      <a:pt x="1038" y="318"/>
                    </a:lnTo>
                    <a:lnTo>
                      <a:pt x="1038" y="294"/>
                    </a:lnTo>
                    <a:lnTo>
                      <a:pt x="1026" y="282"/>
                    </a:lnTo>
                    <a:lnTo>
                      <a:pt x="1020" y="270"/>
                    </a:lnTo>
                    <a:lnTo>
                      <a:pt x="1008" y="258"/>
                    </a:lnTo>
                    <a:lnTo>
                      <a:pt x="1002" y="246"/>
                    </a:lnTo>
                    <a:lnTo>
                      <a:pt x="996" y="240"/>
                    </a:lnTo>
                    <a:lnTo>
                      <a:pt x="990" y="228"/>
                    </a:lnTo>
                    <a:lnTo>
                      <a:pt x="948" y="228"/>
                    </a:lnTo>
                    <a:lnTo>
                      <a:pt x="930" y="222"/>
                    </a:lnTo>
                    <a:lnTo>
                      <a:pt x="930" y="228"/>
                    </a:lnTo>
                    <a:lnTo>
                      <a:pt x="912" y="228"/>
                    </a:lnTo>
                    <a:lnTo>
                      <a:pt x="900" y="240"/>
                    </a:lnTo>
                    <a:lnTo>
                      <a:pt x="888" y="264"/>
                    </a:lnTo>
                    <a:lnTo>
                      <a:pt x="876" y="276"/>
                    </a:lnTo>
                    <a:lnTo>
                      <a:pt x="852" y="288"/>
                    </a:lnTo>
                    <a:lnTo>
                      <a:pt x="840" y="288"/>
                    </a:lnTo>
                    <a:lnTo>
                      <a:pt x="822" y="276"/>
                    </a:lnTo>
                    <a:lnTo>
                      <a:pt x="810" y="270"/>
                    </a:lnTo>
                    <a:lnTo>
                      <a:pt x="780" y="240"/>
                    </a:lnTo>
                    <a:lnTo>
                      <a:pt x="780" y="228"/>
                    </a:lnTo>
                    <a:lnTo>
                      <a:pt x="786" y="216"/>
                    </a:lnTo>
                    <a:lnTo>
                      <a:pt x="786" y="174"/>
                    </a:lnTo>
                    <a:lnTo>
                      <a:pt x="780" y="162"/>
                    </a:lnTo>
                    <a:lnTo>
                      <a:pt x="768" y="150"/>
                    </a:lnTo>
                    <a:lnTo>
                      <a:pt x="756" y="144"/>
                    </a:lnTo>
                    <a:lnTo>
                      <a:pt x="744" y="144"/>
                    </a:lnTo>
                    <a:lnTo>
                      <a:pt x="738" y="114"/>
                    </a:lnTo>
                    <a:lnTo>
                      <a:pt x="708" y="102"/>
                    </a:lnTo>
                    <a:lnTo>
                      <a:pt x="708" y="78"/>
                    </a:lnTo>
                    <a:lnTo>
                      <a:pt x="696" y="66"/>
                    </a:lnTo>
                    <a:lnTo>
                      <a:pt x="582" y="66"/>
                    </a:lnTo>
                    <a:lnTo>
                      <a:pt x="576" y="72"/>
                    </a:lnTo>
                    <a:lnTo>
                      <a:pt x="576" y="90"/>
                    </a:lnTo>
                    <a:lnTo>
                      <a:pt x="570" y="102"/>
                    </a:lnTo>
                    <a:lnTo>
                      <a:pt x="570" y="108"/>
                    </a:lnTo>
                    <a:lnTo>
                      <a:pt x="366" y="108"/>
                    </a:lnTo>
                    <a:lnTo>
                      <a:pt x="156" y="12"/>
                    </a:lnTo>
                    <a:lnTo>
                      <a:pt x="150" y="12"/>
                    </a:lnTo>
                    <a:lnTo>
                      <a:pt x="150" y="6"/>
                    </a:lnTo>
                    <a:lnTo>
                      <a:pt x="156" y="0"/>
                    </a:lnTo>
                    <a:lnTo>
                      <a:pt x="12" y="6"/>
                    </a:lnTo>
                    <a:lnTo>
                      <a:pt x="6" y="0"/>
                    </a:lnTo>
                    <a:lnTo>
                      <a:pt x="0" y="18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2" y="66"/>
                    </a:lnTo>
                    <a:lnTo>
                      <a:pt x="18" y="78"/>
                    </a:lnTo>
                    <a:lnTo>
                      <a:pt x="0" y="90"/>
                    </a:lnTo>
                    <a:lnTo>
                      <a:pt x="12" y="114"/>
                    </a:lnTo>
                    <a:lnTo>
                      <a:pt x="6" y="126"/>
                    </a:lnTo>
                    <a:lnTo>
                      <a:pt x="24" y="144"/>
                    </a:lnTo>
                    <a:lnTo>
                      <a:pt x="6" y="174"/>
                    </a:lnTo>
                    <a:lnTo>
                      <a:pt x="18" y="180"/>
                    </a:lnTo>
                    <a:lnTo>
                      <a:pt x="18" y="210"/>
                    </a:lnTo>
                    <a:lnTo>
                      <a:pt x="24" y="228"/>
                    </a:lnTo>
                    <a:lnTo>
                      <a:pt x="24" y="240"/>
                    </a:lnTo>
                    <a:lnTo>
                      <a:pt x="30" y="252"/>
                    </a:lnTo>
                    <a:lnTo>
                      <a:pt x="42" y="264"/>
                    </a:lnTo>
                    <a:lnTo>
                      <a:pt x="60" y="264"/>
                    </a:lnTo>
                    <a:lnTo>
                      <a:pt x="60" y="270"/>
                    </a:lnTo>
                    <a:lnTo>
                      <a:pt x="66" y="276"/>
                    </a:lnTo>
                    <a:lnTo>
                      <a:pt x="72" y="288"/>
                    </a:lnTo>
                    <a:lnTo>
                      <a:pt x="84" y="300"/>
                    </a:lnTo>
                    <a:lnTo>
                      <a:pt x="90" y="318"/>
                    </a:lnTo>
                    <a:lnTo>
                      <a:pt x="96" y="330"/>
                    </a:lnTo>
                    <a:lnTo>
                      <a:pt x="96" y="342"/>
                    </a:lnTo>
                    <a:lnTo>
                      <a:pt x="78" y="378"/>
                    </a:lnTo>
                    <a:lnTo>
                      <a:pt x="72" y="384"/>
                    </a:lnTo>
                    <a:lnTo>
                      <a:pt x="72" y="390"/>
                    </a:lnTo>
                    <a:lnTo>
                      <a:pt x="84" y="396"/>
                    </a:lnTo>
                    <a:lnTo>
                      <a:pt x="72" y="414"/>
                    </a:lnTo>
                    <a:lnTo>
                      <a:pt x="60" y="396"/>
                    </a:lnTo>
                    <a:lnTo>
                      <a:pt x="12" y="390"/>
                    </a:lnTo>
                    <a:lnTo>
                      <a:pt x="36" y="414"/>
                    </a:lnTo>
                    <a:lnTo>
                      <a:pt x="42" y="438"/>
                    </a:lnTo>
                    <a:lnTo>
                      <a:pt x="66" y="444"/>
                    </a:lnTo>
                    <a:lnTo>
                      <a:pt x="78" y="456"/>
                    </a:lnTo>
                    <a:lnTo>
                      <a:pt x="84" y="468"/>
                    </a:lnTo>
                    <a:lnTo>
                      <a:pt x="90" y="474"/>
                    </a:lnTo>
                    <a:lnTo>
                      <a:pt x="96" y="474"/>
                    </a:lnTo>
                    <a:lnTo>
                      <a:pt x="102" y="468"/>
                    </a:lnTo>
                    <a:lnTo>
                      <a:pt x="108" y="468"/>
                    </a:lnTo>
                    <a:lnTo>
                      <a:pt x="120" y="462"/>
                    </a:lnTo>
                    <a:lnTo>
                      <a:pt x="126" y="456"/>
                    </a:lnTo>
                    <a:lnTo>
                      <a:pt x="126" y="480"/>
                    </a:lnTo>
                    <a:lnTo>
                      <a:pt x="144" y="516"/>
                    </a:lnTo>
                    <a:lnTo>
                      <a:pt x="156" y="528"/>
                    </a:lnTo>
                    <a:lnTo>
                      <a:pt x="168" y="552"/>
                    </a:lnTo>
                    <a:lnTo>
                      <a:pt x="168" y="564"/>
                    </a:lnTo>
                    <a:lnTo>
                      <a:pt x="156" y="588"/>
                    </a:lnTo>
                    <a:lnTo>
                      <a:pt x="150" y="606"/>
                    </a:lnTo>
                    <a:lnTo>
                      <a:pt x="150" y="618"/>
                    </a:lnTo>
                    <a:lnTo>
                      <a:pt x="180" y="648"/>
                    </a:lnTo>
                    <a:lnTo>
                      <a:pt x="192" y="666"/>
                    </a:lnTo>
                    <a:lnTo>
                      <a:pt x="222" y="696"/>
                    </a:lnTo>
                    <a:lnTo>
                      <a:pt x="234" y="714"/>
                    </a:lnTo>
                    <a:lnTo>
                      <a:pt x="264" y="744"/>
                    </a:lnTo>
                    <a:lnTo>
                      <a:pt x="258" y="750"/>
                    </a:lnTo>
                    <a:lnTo>
                      <a:pt x="258" y="762"/>
                    </a:lnTo>
                    <a:lnTo>
                      <a:pt x="252" y="768"/>
                    </a:lnTo>
                    <a:lnTo>
                      <a:pt x="252" y="780"/>
                    </a:lnTo>
                    <a:lnTo>
                      <a:pt x="258" y="786"/>
                    </a:lnTo>
                    <a:lnTo>
                      <a:pt x="276" y="786"/>
                    </a:lnTo>
                    <a:lnTo>
                      <a:pt x="288" y="780"/>
                    </a:lnTo>
                    <a:lnTo>
                      <a:pt x="294" y="768"/>
                    </a:lnTo>
                    <a:lnTo>
                      <a:pt x="306" y="762"/>
                    </a:lnTo>
                    <a:lnTo>
                      <a:pt x="312" y="756"/>
                    </a:lnTo>
                    <a:lnTo>
                      <a:pt x="306" y="738"/>
                    </a:lnTo>
                    <a:lnTo>
                      <a:pt x="306" y="732"/>
                    </a:lnTo>
                    <a:lnTo>
                      <a:pt x="300" y="726"/>
                    </a:lnTo>
                    <a:lnTo>
                      <a:pt x="300" y="708"/>
                    </a:lnTo>
                    <a:lnTo>
                      <a:pt x="288" y="684"/>
                    </a:lnTo>
                    <a:lnTo>
                      <a:pt x="282" y="678"/>
                    </a:lnTo>
                    <a:lnTo>
                      <a:pt x="258" y="678"/>
                    </a:lnTo>
                    <a:lnTo>
                      <a:pt x="240" y="648"/>
                    </a:lnTo>
                    <a:lnTo>
                      <a:pt x="240" y="576"/>
                    </a:lnTo>
                    <a:lnTo>
                      <a:pt x="222" y="546"/>
                    </a:lnTo>
                    <a:lnTo>
                      <a:pt x="228" y="534"/>
                    </a:lnTo>
                    <a:lnTo>
                      <a:pt x="228" y="528"/>
                    </a:lnTo>
                    <a:lnTo>
                      <a:pt x="234" y="516"/>
                    </a:lnTo>
                    <a:lnTo>
                      <a:pt x="234" y="492"/>
                    </a:lnTo>
                    <a:lnTo>
                      <a:pt x="228" y="486"/>
                    </a:lnTo>
                    <a:lnTo>
                      <a:pt x="216" y="480"/>
                    </a:lnTo>
                    <a:lnTo>
                      <a:pt x="210" y="474"/>
                    </a:lnTo>
                    <a:lnTo>
                      <a:pt x="198" y="474"/>
                    </a:lnTo>
                    <a:lnTo>
                      <a:pt x="198" y="432"/>
                    </a:lnTo>
                    <a:lnTo>
                      <a:pt x="168" y="396"/>
                    </a:lnTo>
                    <a:lnTo>
                      <a:pt x="174" y="336"/>
                    </a:lnTo>
                    <a:lnTo>
                      <a:pt x="168" y="330"/>
                    </a:lnTo>
                    <a:lnTo>
                      <a:pt x="162" y="318"/>
                    </a:lnTo>
                    <a:lnTo>
                      <a:pt x="144" y="300"/>
                    </a:lnTo>
                    <a:lnTo>
                      <a:pt x="138" y="288"/>
                    </a:lnTo>
                    <a:lnTo>
                      <a:pt x="138" y="276"/>
                    </a:lnTo>
                    <a:lnTo>
                      <a:pt x="132" y="264"/>
                    </a:lnTo>
                    <a:lnTo>
                      <a:pt x="132" y="246"/>
                    </a:lnTo>
                    <a:lnTo>
                      <a:pt x="126" y="240"/>
                    </a:lnTo>
                    <a:lnTo>
                      <a:pt x="120" y="228"/>
                    </a:lnTo>
                    <a:lnTo>
                      <a:pt x="108" y="216"/>
                    </a:lnTo>
                    <a:lnTo>
                      <a:pt x="102" y="204"/>
                    </a:lnTo>
                    <a:lnTo>
                      <a:pt x="96" y="198"/>
                    </a:lnTo>
                    <a:lnTo>
                      <a:pt x="96" y="192"/>
                    </a:lnTo>
                    <a:lnTo>
                      <a:pt x="102" y="186"/>
                    </a:lnTo>
                    <a:lnTo>
                      <a:pt x="114" y="162"/>
                    </a:lnTo>
                    <a:lnTo>
                      <a:pt x="114" y="114"/>
                    </a:lnTo>
                    <a:lnTo>
                      <a:pt x="120" y="108"/>
                    </a:lnTo>
                    <a:lnTo>
                      <a:pt x="126" y="96"/>
                    </a:lnTo>
                    <a:lnTo>
                      <a:pt x="126" y="60"/>
                    </a:lnTo>
                    <a:lnTo>
                      <a:pt x="132" y="66"/>
                    </a:lnTo>
                    <a:lnTo>
                      <a:pt x="144" y="72"/>
                    </a:lnTo>
                    <a:lnTo>
                      <a:pt x="150" y="84"/>
                    </a:lnTo>
                    <a:lnTo>
                      <a:pt x="162" y="90"/>
                    </a:lnTo>
                    <a:lnTo>
                      <a:pt x="180" y="90"/>
                    </a:lnTo>
                    <a:lnTo>
                      <a:pt x="186" y="84"/>
                    </a:lnTo>
                    <a:lnTo>
                      <a:pt x="198" y="84"/>
                    </a:lnTo>
                    <a:lnTo>
                      <a:pt x="198" y="102"/>
                    </a:lnTo>
                    <a:lnTo>
                      <a:pt x="204" y="108"/>
                    </a:lnTo>
                    <a:lnTo>
                      <a:pt x="216" y="114"/>
                    </a:lnTo>
                    <a:lnTo>
                      <a:pt x="234" y="114"/>
                    </a:lnTo>
                    <a:lnTo>
                      <a:pt x="234" y="120"/>
                    </a:lnTo>
                    <a:lnTo>
                      <a:pt x="228" y="126"/>
                    </a:lnTo>
                    <a:lnTo>
                      <a:pt x="228" y="186"/>
                    </a:lnTo>
                    <a:lnTo>
                      <a:pt x="240" y="258"/>
                    </a:lnTo>
                    <a:lnTo>
                      <a:pt x="240" y="270"/>
                    </a:lnTo>
                    <a:lnTo>
                      <a:pt x="246" y="282"/>
                    </a:lnTo>
                    <a:lnTo>
                      <a:pt x="252" y="306"/>
                    </a:lnTo>
                    <a:lnTo>
                      <a:pt x="264" y="342"/>
                    </a:lnTo>
                    <a:lnTo>
                      <a:pt x="276" y="372"/>
                    </a:lnTo>
                    <a:lnTo>
                      <a:pt x="282" y="384"/>
                    </a:lnTo>
                    <a:lnTo>
                      <a:pt x="324" y="384"/>
                    </a:lnTo>
                    <a:lnTo>
                      <a:pt x="318" y="390"/>
                    </a:lnTo>
                    <a:lnTo>
                      <a:pt x="306" y="414"/>
                    </a:lnTo>
                    <a:lnTo>
                      <a:pt x="318" y="438"/>
                    </a:lnTo>
                    <a:lnTo>
                      <a:pt x="330" y="444"/>
                    </a:lnTo>
                    <a:lnTo>
                      <a:pt x="336" y="450"/>
                    </a:lnTo>
                    <a:lnTo>
                      <a:pt x="348" y="450"/>
                    </a:lnTo>
                    <a:lnTo>
                      <a:pt x="354" y="474"/>
                    </a:lnTo>
                    <a:lnTo>
                      <a:pt x="384" y="474"/>
                    </a:lnTo>
                    <a:lnTo>
                      <a:pt x="390" y="516"/>
                    </a:lnTo>
                    <a:lnTo>
                      <a:pt x="384" y="516"/>
                    </a:lnTo>
                    <a:lnTo>
                      <a:pt x="378" y="522"/>
                    </a:lnTo>
                    <a:lnTo>
                      <a:pt x="366" y="528"/>
                    </a:lnTo>
                    <a:lnTo>
                      <a:pt x="360" y="534"/>
                    </a:lnTo>
                    <a:lnTo>
                      <a:pt x="354" y="546"/>
                    </a:lnTo>
                    <a:lnTo>
                      <a:pt x="354" y="558"/>
                    </a:lnTo>
                    <a:lnTo>
                      <a:pt x="360" y="564"/>
                    </a:lnTo>
                    <a:lnTo>
                      <a:pt x="372" y="570"/>
                    </a:lnTo>
                    <a:lnTo>
                      <a:pt x="384" y="558"/>
                    </a:lnTo>
                    <a:lnTo>
                      <a:pt x="384" y="564"/>
                    </a:lnTo>
                    <a:lnTo>
                      <a:pt x="396" y="576"/>
                    </a:lnTo>
                    <a:lnTo>
                      <a:pt x="396" y="588"/>
                    </a:lnTo>
                    <a:lnTo>
                      <a:pt x="402" y="594"/>
                    </a:lnTo>
                    <a:lnTo>
                      <a:pt x="414" y="594"/>
                    </a:lnTo>
                    <a:lnTo>
                      <a:pt x="426" y="600"/>
                    </a:lnTo>
                    <a:lnTo>
                      <a:pt x="432" y="600"/>
                    </a:lnTo>
                    <a:lnTo>
                      <a:pt x="438" y="606"/>
                    </a:lnTo>
                    <a:lnTo>
                      <a:pt x="438" y="624"/>
                    </a:lnTo>
                    <a:lnTo>
                      <a:pt x="432" y="630"/>
                    </a:lnTo>
                    <a:lnTo>
                      <a:pt x="432" y="636"/>
                    </a:lnTo>
                    <a:lnTo>
                      <a:pt x="426" y="648"/>
                    </a:lnTo>
                    <a:lnTo>
                      <a:pt x="426" y="654"/>
                    </a:lnTo>
                    <a:lnTo>
                      <a:pt x="468" y="654"/>
                    </a:lnTo>
                    <a:lnTo>
                      <a:pt x="468" y="684"/>
                    </a:lnTo>
                    <a:lnTo>
                      <a:pt x="504" y="720"/>
                    </a:lnTo>
                    <a:lnTo>
                      <a:pt x="510" y="732"/>
                    </a:lnTo>
                    <a:lnTo>
                      <a:pt x="528" y="750"/>
                    </a:lnTo>
                    <a:lnTo>
                      <a:pt x="534" y="768"/>
                    </a:lnTo>
                    <a:lnTo>
                      <a:pt x="546" y="780"/>
                    </a:lnTo>
                    <a:lnTo>
                      <a:pt x="552" y="798"/>
                    </a:lnTo>
                    <a:lnTo>
                      <a:pt x="558" y="810"/>
                    </a:lnTo>
                    <a:lnTo>
                      <a:pt x="558" y="870"/>
                    </a:lnTo>
                    <a:lnTo>
                      <a:pt x="564" y="882"/>
                    </a:lnTo>
                    <a:lnTo>
                      <a:pt x="576" y="894"/>
                    </a:lnTo>
                    <a:lnTo>
                      <a:pt x="576" y="906"/>
                    </a:lnTo>
                    <a:lnTo>
                      <a:pt x="570" y="918"/>
                    </a:lnTo>
                    <a:lnTo>
                      <a:pt x="552" y="936"/>
                    </a:lnTo>
                    <a:lnTo>
                      <a:pt x="546" y="948"/>
                    </a:lnTo>
                    <a:lnTo>
                      <a:pt x="546" y="954"/>
                    </a:lnTo>
                    <a:lnTo>
                      <a:pt x="552" y="960"/>
                    </a:lnTo>
                    <a:lnTo>
                      <a:pt x="564" y="966"/>
                    </a:lnTo>
                    <a:lnTo>
                      <a:pt x="540" y="966"/>
                    </a:lnTo>
                    <a:lnTo>
                      <a:pt x="528" y="972"/>
                    </a:lnTo>
                    <a:lnTo>
                      <a:pt x="528" y="1038"/>
                    </a:lnTo>
                    <a:lnTo>
                      <a:pt x="534" y="1056"/>
                    </a:lnTo>
                    <a:lnTo>
                      <a:pt x="540" y="1062"/>
                    </a:lnTo>
                    <a:lnTo>
                      <a:pt x="546" y="1074"/>
                    </a:lnTo>
                    <a:lnTo>
                      <a:pt x="558" y="1074"/>
                    </a:lnTo>
                    <a:lnTo>
                      <a:pt x="576" y="1080"/>
                    </a:lnTo>
                    <a:lnTo>
                      <a:pt x="600" y="1080"/>
                    </a:lnTo>
                    <a:lnTo>
                      <a:pt x="612" y="1086"/>
                    </a:lnTo>
                    <a:lnTo>
                      <a:pt x="636" y="1110"/>
                    </a:lnTo>
                    <a:lnTo>
                      <a:pt x="642" y="1122"/>
                    </a:lnTo>
                    <a:lnTo>
                      <a:pt x="648" y="1140"/>
                    </a:lnTo>
                    <a:lnTo>
                      <a:pt x="654" y="1152"/>
                    </a:lnTo>
                    <a:lnTo>
                      <a:pt x="666" y="1164"/>
                    </a:lnTo>
                    <a:lnTo>
                      <a:pt x="678" y="1170"/>
                    </a:lnTo>
                    <a:lnTo>
                      <a:pt x="732" y="1170"/>
                    </a:lnTo>
                    <a:lnTo>
                      <a:pt x="750" y="1176"/>
                    </a:lnTo>
                    <a:lnTo>
                      <a:pt x="762" y="1182"/>
                    </a:lnTo>
                    <a:lnTo>
                      <a:pt x="768" y="1188"/>
                    </a:lnTo>
                    <a:lnTo>
                      <a:pt x="774" y="1200"/>
                    </a:lnTo>
                    <a:lnTo>
                      <a:pt x="786" y="1218"/>
                    </a:lnTo>
                    <a:lnTo>
                      <a:pt x="810" y="1242"/>
                    </a:lnTo>
                    <a:lnTo>
                      <a:pt x="834" y="1254"/>
                    </a:lnTo>
                    <a:lnTo>
                      <a:pt x="870" y="1266"/>
                    </a:lnTo>
                    <a:lnTo>
                      <a:pt x="912" y="1272"/>
                    </a:lnTo>
                    <a:lnTo>
                      <a:pt x="942" y="1278"/>
                    </a:lnTo>
                    <a:lnTo>
                      <a:pt x="960" y="1290"/>
                    </a:lnTo>
                    <a:lnTo>
                      <a:pt x="966" y="1302"/>
                    </a:lnTo>
                    <a:lnTo>
                      <a:pt x="978" y="1314"/>
                    </a:lnTo>
                    <a:lnTo>
                      <a:pt x="990" y="1320"/>
                    </a:lnTo>
                    <a:lnTo>
                      <a:pt x="996" y="1320"/>
                    </a:lnTo>
                    <a:lnTo>
                      <a:pt x="1002" y="1326"/>
                    </a:lnTo>
                    <a:lnTo>
                      <a:pt x="1008" y="1338"/>
                    </a:lnTo>
                    <a:lnTo>
                      <a:pt x="1014" y="1344"/>
                    </a:lnTo>
                    <a:lnTo>
                      <a:pt x="1080" y="1344"/>
                    </a:lnTo>
                    <a:lnTo>
                      <a:pt x="1092" y="1356"/>
                    </a:lnTo>
                    <a:lnTo>
                      <a:pt x="1098" y="1368"/>
                    </a:lnTo>
                    <a:lnTo>
                      <a:pt x="1104" y="1374"/>
                    </a:lnTo>
                    <a:lnTo>
                      <a:pt x="1116" y="1374"/>
                    </a:lnTo>
                    <a:lnTo>
                      <a:pt x="1140" y="1362"/>
                    </a:lnTo>
                    <a:lnTo>
                      <a:pt x="1170" y="1350"/>
                    </a:lnTo>
                    <a:lnTo>
                      <a:pt x="1206" y="1332"/>
                    </a:lnTo>
                    <a:lnTo>
                      <a:pt x="1260" y="1314"/>
                    </a:lnTo>
                    <a:lnTo>
                      <a:pt x="1278" y="1326"/>
                    </a:lnTo>
                    <a:lnTo>
                      <a:pt x="1308" y="1350"/>
                    </a:lnTo>
                    <a:lnTo>
                      <a:pt x="1344" y="1374"/>
                    </a:lnTo>
                    <a:lnTo>
                      <a:pt x="1386" y="1416"/>
                    </a:lnTo>
                    <a:lnTo>
                      <a:pt x="1386" y="1428"/>
                    </a:lnTo>
                    <a:lnTo>
                      <a:pt x="1392" y="1446"/>
                    </a:lnTo>
                    <a:lnTo>
                      <a:pt x="1398" y="1458"/>
                    </a:lnTo>
                    <a:lnTo>
                      <a:pt x="1416" y="1458"/>
                    </a:lnTo>
                    <a:lnTo>
                      <a:pt x="1422" y="1452"/>
                    </a:lnTo>
                    <a:lnTo>
                      <a:pt x="1422" y="144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" name="Honduras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AAE6E298-9974-4465-A3A0-1DCD9BD13B8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75750" y="480970"/>
                <a:ext cx="161267" cy="89121"/>
              </a:xfrm>
              <a:custGeom>
                <a:avLst/>
                <a:gdLst>
                  <a:gd name="T0" fmla="*/ 2147483647 w 444"/>
                  <a:gd name="T1" fmla="*/ 2147483647 h 246"/>
                  <a:gd name="T2" fmla="*/ 2147483647 w 444"/>
                  <a:gd name="T3" fmla="*/ 2147483647 h 246"/>
                  <a:gd name="T4" fmla="*/ 2147483647 w 444"/>
                  <a:gd name="T5" fmla="*/ 2147483647 h 246"/>
                  <a:gd name="T6" fmla="*/ 2147483647 w 444"/>
                  <a:gd name="T7" fmla="*/ 2147483647 h 246"/>
                  <a:gd name="T8" fmla="*/ 2147483647 w 444"/>
                  <a:gd name="T9" fmla="*/ 2147483647 h 246"/>
                  <a:gd name="T10" fmla="*/ 2147483647 w 444"/>
                  <a:gd name="T11" fmla="*/ 2147483647 h 246"/>
                  <a:gd name="T12" fmla="*/ 2147483647 w 444"/>
                  <a:gd name="T13" fmla="*/ 2147483647 h 246"/>
                  <a:gd name="T14" fmla="*/ 2147483647 w 444"/>
                  <a:gd name="T15" fmla="*/ 2147483647 h 246"/>
                  <a:gd name="T16" fmla="*/ 2147483647 w 444"/>
                  <a:gd name="T17" fmla="*/ 2147483647 h 246"/>
                  <a:gd name="T18" fmla="*/ 2147483647 w 444"/>
                  <a:gd name="T19" fmla="*/ 2147483647 h 246"/>
                  <a:gd name="T20" fmla="*/ 2147483647 w 444"/>
                  <a:gd name="T21" fmla="*/ 2147483647 h 246"/>
                  <a:gd name="T22" fmla="*/ 2147483647 w 444"/>
                  <a:gd name="T23" fmla="*/ 2147483647 h 246"/>
                  <a:gd name="T24" fmla="*/ 2147483647 w 444"/>
                  <a:gd name="T25" fmla="*/ 2147483647 h 246"/>
                  <a:gd name="T26" fmla="*/ 2147483647 w 444"/>
                  <a:gd name="T27" fmla="*/ 2147483647 h 246"/>
                  <a:gd name="T28" fmla="*/ 2147483647 w 444"/>
                  <a:gd name="T29" fmla="*/ 2147483647 h 246"/>
                  <a:gd name="T30" fmla="*/ 2147483647 w 444"/>
                  <a:gd name="T31" fmla="*/ 2147483647 h 246"/>
                  <a:gd name="T32" fmla="*/ 2147483647 w 444"/>
                  <a:gd name="T33" fmla="*/ 2147483647 h 246"/>
                  <a:gd name="T34" fmla="*/ 2147483647 w 444"/>
                  <a:gd name="T35" fmla="*/ 2147483647 h 246"/>
                  <a:gd name="T36" fmla="*/ 2147483647 w 444"/>
                  <a:gd name="T37" fmla="*/ 2147483647 h 246"/>
                  <a:gd name="T38" fmla="*/ 2147483647 w 444"/>
                  <a:gd name="T39" fmla="*/ 0 h 246"/>
                  <a:gd name="T40" fmla="*/ 2147483647 w 444"/>
                  <a:gd name="T41" fmla="*/ 2147483647 h 246"/>
                  <a:gd name="T42" fmla="*/ 2147483647 w 444"/>
                  <a:gd name="T43" fmla="*/ 2147483647 h 246"/>
                  <a:gd name="T44" fmla="*/ 2147483647 w 444"/>
                  <a:gd name="T45" fmla="*/ 0 h 246"/>
                  <a:gd name="T46" fmla="*/ 2147483647 w 444"/>
                  <a:gd name="T47" fmla="*/ 2147483647 h 246"/>
                  <a:gd name="T48" fmla="*/ 2147483647 w 444"/>
                  <a:gd name="T49" fmla="*/ 2147483647 h 246"/>
                  <a:gd name="T50" fmla="*/ 2147483647 w 444"/>
                  <a:gd name="T51" fmla="*/ 2147483647 h 246"/>
                  <a:gd name="T52" fmla="*/ 2147483647 w 444"/>
                  <a:gd name="T53" fmla="*/ 2147483647 h 246"/>
                  <a:gd name="T54" fmla="*/ 2147483647 w 444"/>
                  <a:gd name="T55" fmla="*/ 2147483647 h 246"/>
                  <a:gd name="T56" fmla="*/ 2147483647 w 444"/>
                  <a:gd name="T57" fmla="*/ 2147483647 h 246"/>
                  <a:gd name="T58" fmla="*/ 2147483647 w 444"/>
                  <a:gd name="T59" fmla="*/ 2147483647 h 246"/>
                  <a:gd name="T60" fmla="*/ 2147483647 w 444"/>
                  <a:gd name="T61" fmla="*/ 0 h 246"/>
                  <a:gd name="T62" fmla="*/ 2147483647 w 444"/>
                  <a:gd name="T63" fmla="*/ 2147483647 h 246"/>
                  <a:gd name="T64" fmla="*/ 2147483647 w 444"/>
                  <a:gd name="T65" fmla="*/ 2147483647 h 246"/>
                  <a:gd name="T66" fmla="*/ 2147483647 w 444"/>
                  <a:gd name="T67" fmla="*/ 2147483647 h 246"/>
                  <a:gd name="T68" fmla="*/ 2147483647 w 444"/>
                  <a:gd name="T69" fmla="*/ 2147483647 h 246"/>
                  <a:gd name="T70" fmla="*/ 2147483647 w 444"/>
                  <a:gd name="T71" fmla="*/ 2147483647 h 246"/>
                  <a:gd name="T72" fmla="*/ 0 w 444"/>
                  <a:gd name="T73" fmla="*/ 2147483647 h 246"/>
                  <a:gd name="T74" fmla="*/ 2147483647 w 444"/>
                  <a:gd name="T75" fmla="*/ 2147483647 h 246"/>
                  <a:gd name="T76" fmla="*/ 2147483647 w 444"/>
                  <a:gd name="T77" fmla="*/ 2147483647 h 246"/>
                  <a:gd name="T78" fmla="*/ 2147483647 w 444"/>
                  <a:gd name="T79" fmla="*/ 2147483647 h 246"/>
                  <a:gd name="T80" fmla="*/ 2147483647 w 444"/>
                  <a:gd name="T81" fmla="*/ 2147483647 h 246"/>
                  <a:gd name="T82" fmla="*/ 2147483647 w 444"/>
                  <a:gd name="T83" fmla="*/ 2147483647 h 246"/>
                  <a:gd name="T84" fmla="*/ 2147483647 w 444"/>
                  <a:gd name="T85" fmla="*/ 2147483647 h 246"/>
                  <a:gd name="T86" fmla="*/ 2147483647 w 444"/>
                  <a:gd name="T87" fmla="*/ 2147483647 h 24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444"/>
                  <a:gd name="T133" fmla="*/ 0 h 246"/>
                  <a:gd name="T134" fmla="*/ 444 w 444"/>
                  <a:gd name="T135" fmla="*/ 246 h 24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444" h="246">
                    <a:moveTo>
                      <a:pt x="156" y="240"/>
                    </a:moveTo>
                    <a:lnTo>
                      <a:pt x="156" y="222"/>
                    </a:lnTo>
                    <a:lnTo>
                      <a:pt x="174" y="222"/>
                    </a:lnTo>
                    <a:lnTo>
                      <a:pt x="168" y="216"/>
                    </a:lnTo>
                    <a:lnTo>
                      <a:pt x="168" y="204"/>
                    </a:lnTo>
                    <a:lnTo>
                      <a:pt x="162" y="198"/>
                    </a:lnTo>
                    <a:lnTo>
                      <a:pt x="162" y="186"/>
                    </a:lnTo>
                    <a:lnTo>
                      <a:pt x="168" y="180"/>
                    </a:lnTo>
                    <a:lnTo>
                      <a:pt x="204" y="180"/>
                    </a:lnTo>
                    <a:lnTo>
                      <a:pt x="210" y="168"/>
                    </a:lnTo>
                    <a:lnTo>
                      <a:pt x="216" y="162"/>
                    </a:lnTo>
                    <a:lnTo>
                      <a:pt x="228" y="162"/>
                    </a:lnTo>
                    <a:lnTo>
                      <a:pt x="228" y="168"/>
                    </a:lnTo>
                    <a:lnTo>
                      <a:pt x="234" y="174"/>
                    </a:lnTo>
                    <a:lnTo>
                      <a:pt x="252" y="174"/>
                    </a:lnTo>
                    <a:lnTo>
                      <a:pt x="276" y="150"/>
                    </a:lnTo>
                    <a:lnTo>
                      <a:pt x="288" y="126"/>
                    </a:lnTo>
                    <a:lnTo>
                      <a:pt x="306" y="126"/>
                    </a:lnTo>
                    <a:lnTo>
                      <a:pt x="306" y="108"/>
                    </a:lnTo>
                    <a:lnTo>
                      <a:pt x="318" y="96"/>
                    </a:lnTo>
                    <a:lnTo>
                      <a:pt x="330" y="96"/>
                    </a:lnTo>
                    <a:lnTo>
                      <a:pt x="348" y="114"/>
                    </a:lnTo>
                    <a:lnTo>
                      <a:pt x="360" y="114"/>
                    </a:lnTo>
                    <a:lnTo>
                      <a:pt x="372" y="102"/>
                    </a:lnTo>
                    <a:lnTo>
                      <a:pt x="372" y="96"/>
                    </a:lnTo>
                    <a:lnTo>
                      <a:pt x="420" y="96"/>
                    </a:lnTo>
                    <a:lnTo>
                      <a:pt x="426" y="90"/>
                    </a:lnTo>
                    <a:lnTo>
                      <a:pt x="432" y="90"/>
                    </a:lnTo>
                    <a:lnTo>
                      <a:pt x="444" y="84"/>
                    </a:lnTo>
                    <a:lnTo>
                      <a:pt x="444" y="78"/>
                    </a:lnTo>
                    <a:lnTo>
                      <a:pt x="426" y="60"/>
                    </a:lnTo>
                    <a:lnTo>
                      <a:pt x="402" y="48"/>
                    </a:lnTo>
                    <a:lnTo>
                      <a:pt x="396" y="48"/>
                    </a:lnTo>
                    <a:lnTo>
                      <a:pt x="390" y="42"/>
                    </a:lnTo>
                    <a:lnTo>
                      <a:pt x="384" y="30"/>
                    </a:lnTo>
                    <a:lnTo>
                      <a:pt x="372" y="24"/>
                    </a:lnTo>
                    <a:lnTo>
                      <a:pt x="366" y="18"/>
                    </a:lnTo>
                    <a:lnTo>
                      <a:pt x="348" y="18"/>
                    </a:lnTo>
                    <a:lnTo>
                      <a:pt x="342" y="6"/>
                    </a:lnTo>
                    <a:lnTo>
                      <a:pt x="336" y="0"/>
                    </a:lnTo>
                    <a:lnTo>
                      <a:pt x="312" y="0"/>
                    </a:lnTo>
                    <a:lnTo>
                      <a:pt x="300" y="6"/>
                    </a:lnTo>
                    <a:lnTo>
                      <a:pt x="294" y="12"/>
                    </a:lnTo>
                    <a:lnTo>
                      <a:pt x="282" y="12"/>
                    </a:lnTo>
                    <a:lnTo>
                      <a:pt x="270" y="0"/>
                    </a:lnTo>
                    <a:lnTo>
                      <a:pt x="252" y="0"/>
                    </a:lnTo>
                    <a:lnTo>
                      <a:pt x="240" y="6"/>
                    </a:lnTo>
                    <a:lnTo>
                      <a:pt x="234" y="18"/>
                    </a:lnTo>
                    <a:lnTo>
                      <a:pt x="222" y="24"/>
                    </a:lnTo>
                    <a:lnTo>
                      <a:pt x="186" y="24"/>
                    </a:lnTo>
                    <a:lnTo>
                      <a:pt x="174" y="18"/>
                    </a:lnTo>
                    <a:lnTo>
                      <a:pt x="168" y="12"/>
                    </a:lnTo>
                    <a:lnTo>
                      <a:pt x="156" y="12"/>
                    </a:lnTo>
                    <a:lnTo>
                      <a:pt x="150" y="18"/>
                    </a:lnTo>
                    <a:lnTo>
                      <a:pt x="144" y="18"/>
                    </a:lnTo>
                    <a:lnTo>
                      <a:pt x="138" y="24"/>
                    </a:lnTo>
                    <a:lnTo>
                      <a:pt x="132" y="24"/>
                    </a:lnTo>
                    <a:lnTo>
                      <a:pt x="132" y="18"/>
                    </a:lnTo>
                    <a:lnTo>
                      <a:pt x="126" y="12"/>
                    </a:lnTo>
                    <a:lnTo>
                      <a:pt x="126" y="6"/>
                    </a:lnTo>
                    <a:lnTo>
                      <a:pt x="120" y="0"/>
                    </a:lnTo>
                    <a:lnTo>
                      <a:pt x="114" y="0"/>
                    </a:lnTo>
                    <a:lnTo>
                      <a:pt x="96" y="18"/>
                    </a:lnTo>
                    <a:lnTo>
                      <a:pt x="90" y="18"/>
                    </a:lnTo>
                    <a:lnTo>
                      <a:pt x="84" y="30"/>
                    </a:lnTo>
                    <a:lnTo>
                      <a:pt x="72" y="36"/>
                    </a:lnTo>
                    <a:lnTo>
                      <a:pt x="60" y="48"/>
                    </a:lnTo>
                    <a:lnTo>
                      <a:pt x="48" y="54"/>
                    </a:lnTo>
                    <a:lnTo>
                      <a:pt x="36" y="66"/>
                    </a:lnTo>
                    <a:lnTo>
                      <a:pt x="24" y="72"/>
                    </a:lnTo>
                    <a:lnTo>
                      <a:pt x="18" y="84"/>
                    </a:lnTo>
                    <a:lnTo>
                      <a:pt x="18" y="102"/>
                    </a:lnTo>
                    <a:lnTo>
                      <a:pt x="12" y="114"/>
                    </a:lnTo>
                    <a:lnTo>
                      <a:pt x="0" y="126"/>
                    </a:lnTo>
                    <a:lnTo>
                      <a:pt x="6" y="138"/>
                    </a:lnTo>
                    <a:lnTo>
                      <a:pt x="18" y="150"/>
                    </a:lnTo>
                    <a:lnTo>
                      <a:pt x="42" y="150"/>
                    </a:lnTo>
                    <a:lnTo>
                      <a:pt x="42" y="168"/>
                    </a:lnTo>
                    <a:lnTo>
                      <a:pt x="48" y="174"/>
                    </a:lnTo>
                    <a:lnTo>
                      <a:pt x="60" y="174"/>
                    </a:lnTo>
                    <a:lnTo>
                      <a:pt x="66" y="168"/>
                    </a:lnTo>
                    <a:lnTo>
                      <a:pt x="102" y="168"/>
                    </a:lnTo>
                    <a:lnTo>
                      <a:pt x="102" y="210"/>
                    </a:lnTo>
                    <a:lnTo>
                      <a:pt x="126" y="222"/>
                    </a:lnTo>
                    <a:lnTo>
                      <a:pt x="132" y="228"/>
                    </a:lnTo>
                    <a:lnTo>
                      <a:pt x="132" y="246"/>
                    </a:lnTo>
                    <a:lnTo>
                      <a:pt x="144" y="246"/>
                    </a:lnTo>
                    <a:lnTo>
                      <a:pt x="156" y="24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" name="Guatemal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484E08C-DDFC-4275-83C7-D7DA4ABD12F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2190" y="427214"/>
                <a:ext cx="106097" cy="120243"/>
              </a:xfrm>
              <a:custGeom>
                <a:avLst/>
                <a:gdLst>
                  <a:gd name="T0" fmla="*/ 2147483647 w 300"/>
                  <a:gd name="T1" fmla="*/ 2147483647 h 336"/>
                  <a:gd name="T2" fmla="*/ 2147483647 w 300"/>
                  <a:gd name="T3" fmla="*/ 2147483647 h 336"/>
                  <a:gd name="T4" fmla="*/ 2147483647 w 300"/>
                  <a:gd name="T5" fmla="*/ 2147483647 h 336"/>
                  <a:gd name="T6" fmla="*/ 2147483647 w 300"/>
                  <a:gd name="T7" fmla="*/ 2147483647 h 336"/>
                  <a:gd name="T8" fmla="*/ 2147483647 w 300"/>
                  <a:gd name="T9" fmla="*/ 2147483647 h 336"/>
                  <a:gd name="T10" fmla="*/ 2147483647 w 300"/>
                  <a:gd name="T11" fmla="*/ 0 h 336"/>
                  <a:gd name="T12" fmla="*/ 2147483647 w 300"/>
                  <a:gd name="T13" fmla="*/ 2147483647 h 336"/>
                  <a:gd name="T14" fmla="*/ 2147483647 w 300"/>
                  <a:gd name="T15" fmla="*/ 2147483647 h 336"/>
                  <a:gd name="T16" fmla="*/ 2147483647 w 300"/>
                  <a:gd name="T17" fmla="*/ 2147483647 h 336"/>
                  <a:gd name="T18" fmla="*/ 2147483647 w 300"/>
                  <a:gd name="T19" fmla="*/ 2147483647 h 336"/>
                  <a:gd name="T20" fmla="*/ 2147483647 w 300"/>
                  <a:gd name="T21" fmla="*/ 2147483647 h 336"/>
                  <a:gd name="T22" fmla="*/ 2147483647 w 300"/>
                  <a:gd name="T23" fmla="*/ 2147483647 h 336"/>
                  <a:gd name="T24" fmla="*/ 2147483647 w 300"/>
                  <a:gd name="T25" fmla="*/ 2147483647 h 336"/>
                  <a:gd name="T26" fmla="*/ 2147483647 w 300"/>
                  <a:gd name="T27" fmla="*/ 2147483647 h 336"/>
                  <a:gd name="T28" fmla="*/ 2147483647 w 300"/>
                  <a:gd name="T29" fmla="*/ 2147483647 h 336"/>
                  <a:gd name="T30" fmla="*/ 2147483647 w 300"/>
                  <a:gd name="T31" fmla="*/ 2147483647 h 336"/>
                  <a:gd name="T32" fmla="*/ 2147483647 w 300"/>
                  <a:gd name="T33" fmla="*/ 2147483647 h 336"/>
                  <a:gd name="T34" fmla="*/ 2147483647 w 300"/>
                  <a:gd name="T35" fmla="*/ 2147483647 h 336"/>
                  <a:gd name="T36" fmla="*/ 2147483647 w 300"/>
                  <a:gd name="T37" fmla="*/ 2147483647 h 336"/>
                  <a:gd name="T38" fmla="*/ 2147483647 w 300"/>
                  <a:gd name="T39" fmla="*/ 2147483647 h 336"/>
                  <a:gd name="T40" fmla="*/ 2147483647 w 300"/>
                  <a:gd name="T41" fmla="*/ 2147483647 h 336"/>
                  <a:gd name="T42" fmla="*/ 2147483647 w 300"/>
                  <a:gd name="T43" fmla="*/ 2147483647 h 336"/>
                  <a:gd name="T44" fmla="*/ 2147483647 w 300"/>
                  <a:gd name="T45" fmla="*/ 2147483647 h 336"/>
                  <a:gd name="T46" fmla="*/ 2147483647 w 300"/>
                  <a:gd name="T47" fmla="*/ 2147483647 h 336"/>
                  <a:gd name="T48" fmla="*/ 2147483647 w 300"/>
                  <a:gd name="T49" fmla="*/ 2147483647 h 336"/>
                  <a:gd name="T50" fmla="*/ 2147483647 w 300"/>
                  <a:gd name="T51" fmla="*/ 2147483647 h 336"/>
                  <a:gd name="T52" fmla="*/ 2147483647 w 300"/>
                  <a:gd name="T53" fmla="*/ 2147483647 h 336"/>
                  <a:gd name="T54" fmla="*/ 2147483647 w 300"/>
                  <a:gd name="T55" fmla="*/ 2147483647 h 336"/>
                  <a:gd name="T56" fmla="*/ 2147483647 w 300"/>
                  <a:gd name="T57" fmla="*/ 2147483647 h 336"/>
                  <a:gd name="T58" fmla="*/ 0 w 300"/>
                  <a:gd name="T59" fmla="*/ 2147483647 h 336"/>
                  <a:gd name="T60" fmla="*/ 2147483647 w 300"/>
                  <a:gd name="T61" fmla="*/ 2147483647 h 336"/>
                  <a:gd name="T62" fmla="*/ 2147483647 w 300"/>
                  <a:gd name="T63" fmla="*/ 2147483647 h 336"/>
                  <a:gd name="T64" fmla="*/ 2147483647 w 300"/>
                  <a:gd name="T65" fmla="*/ 2147483647 h 336"/>
                  <a:gd name="T66" fmla="*/ 2147483647 w 300"/>
                  <a:gd name="T67" fmla="*/ 2147483647 h 336"/>
                  <a:gd name="T68" fmla="*/ 2147483647 w 300"/>
                  <a:gd name="T69" fmla="*/ 2147483647 h 336"/>
                  <a:gd name="T70" fmla="*/ 2147483647 w 300"/>
                  <a:gd name="T71" fmla="*/ 2147483647 h 336"/>
                  <a:gd name="T72" fmla="*/ 2147483647 w 300"/>
                  <a:gd name="T73" fmla="*/ 2147483647 h 336"/>
                  <a:gd name="T74" fmla="*/ 2147483647 w 300"/>
                  <a:gd name="T75" fmla="*/ 2147483647 h 336"/>
                  <a:gd name="T76" fmla="*/ 2147483647 w 300"/>
                  <a:gd name="T77" fmla="*/ 2147483647 h 336"/>
                  <a:gd name="T78" fmla="*/ 2147483647 w 300"/>
                  <a:gd name="T79" fmla="*/ 2147483647 h 336"/>
                  <a:gd name="T80" fmla="*/ 2147483647 w 300"/>
                  <a:gd name="T81" fmla="*/ 2147483647 h 336"/>
                  <a:gd name="T82" fmla="*/ 2147483647 w 300"/>
                  <a:gd name="T83" fmla="*/ 2147483647 h 336"/>
                  <a:gd name="T84" fmla="*/ 2147483647 w 300"/>
                  <a:gd name="T85" fmla="*/ 2147483647 h 336"/>
                  <a:gd name="T86" fmla="*/ 2147483647 w 300"/>
                  <a:gd name="T87" fmla="*/ 2147483647 h 336"/>
                  <a:gd name="T88" fmla="*/ 2147483647 w 300"/>
                  <a:gd name="T89" fmla="*/ 2147483647 h 336"/>
                  <a:gd name="T90" fmla="*/ 2147483647 w 300"/>
                  <a:gd name="T91" fmla="*/ 2147483647 h 336"/>
                  <a:gd name="T92" fmla="*/ 2147483647 w 300"/>
                  <a:gd name="T93" fmla="*/ 2147483647 h 336"/>
                  <a:gd name="T94" fmla="*/ 2147483647 w 300"/>
                  <a:gd name="T95" fmla="*/ 2147483647 h 336"/>
                  <a:gd name="T96" fmla="*/ 2147483647 w 300"/>
                  <a:gd name="T97" fmla="*/ 2147483647 h 336"/>
                  <a:gd name="T98" fmla="*/ 2147483647 w 300"/>
                  <a:gd name="T99" fmla="*/ 2147483647 h 336"/>
                  <a:gd name="T100" fmla="*/ 2147483647 w 300"/>
                  <a:gd name="T101" fmla="*/ 2147483647 h 336"/>
                  <a:gd name="T102" fmla="*/ 2147483647 w 300"/>
                  <a:gd name="T103" fmla="*/ 2147483647 h 336"/>
                  <a:gd name="T104" fmla="*/ 2147483647 w 300"/>
                  <a:gd name="T105" fmla="*/ 2147483647 h 336"/>
                  <a:gd name="T106" fmla="*/ 2147483647 w 300"/>
                  <a:gd name="T107" fmla="*/ 2147483647 h 336"/>
                  <a:gd name="T108" fmla="*/ 2147483647 w 300"/>
                  <a:gd name="T109" fmla="*/ 2147483647 h 336"/>
                  <a:gd name="T110" fmla="*/ 2147483647 w 300"/>
                  <a:gd name="T111" fmla="*/ 2147483647 h 336"/>
                  <a:gd name="T112" fmla="*/ 2147483647 w 300"/>
                  <a:gd name="T113" fmla="*/ 2147483647 h 336"/>
                  <a:gd name="T114" fmla="*/ 2147483647 w 300"/>
                  <a:gd name="T115" fmla="*/ 2147483647 h 336"/>
                  <a:gd name="T116" fmla="*/ 2147483647 w 300"/>
                  <a:gd name="T117" fmla="*/ 2147483647 h 336"/>
                  <a:gd name="T118" fmla="*/ 2147483647 w 300"/>
                  <a:gd name="T119" fmla="*/ 2147483647 h 336"/>
                  <a:gd name="T120" fmla="*/ 2147483647 w 300"/>
                  <a:gd name="T121" fmla="*/ 2147483647 h 3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00"/>
                  <a:gd name="T184" fmla="*/ 0 h 336"/>
                  <a:gd name="T185" fmla="*/ 300 w 300"/>
                  <a:gd name="T186" fmla="*/ 336 h 3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00" h="336">
                    <a:moveTo>
                      <a:pt x="288" y="156"/>
                    </a:moveTo>
                    <a:lnTo>
                      <a:pt x="270" y="168"/>
                    </a:lnTo>
                    <a:lnTo>
                      <a:pt x="258" y="162"/>
                    </a:lnTo>
                    <a:lnTo>
                      <a:pt x="228" y="162"/>
                    </a:lnTo>
                    <a:lnTo>
                      <a:pt x="252" y="6"/>
                    </a:lnTo>
                    <a:lnTo>
                      <a:pt x="120" y="0"/>
                    </a:lnTo>
                    <a:lnTo>
                      <a:pt x="120" y="12"/>
                    </a:lnTo>
                    <a:lnTo>
                      <a:pt x="126" y="24"/>
                    </a:lnTo>
                    <a:lnTo>
                      <a:pt x="126" y="48"/>
                    </a:lnTo>
                    <a:lnTo>
                      <a:pt x="120" y="48"/>
                    </a:lnTo>
                    <a:lnTo>
                      <a:pt x="108" y="54"/>
                    </a:lnTo>
                    <a:lnTo>
                      <a:pt x="84" y="54"/>
                    </a:lnTo>
                    <a:lnTo>
                      <a:pt x="96" y="60"/>
                    </a:lnTo>
                    <a:lnTo>
                      <a:pt x="96" y="66"/>
                    </a:lnTo>
                    <a:lnTo>
                      <a:pt x="102" y="78"/>
                    </a:lnTo>
                    <a:lnTo>
                      <a:pt x="108" y="84"/>
                    </a:lnTo>
                    <a:lnTo>
                      <a:pt x="114" y="84"/>
                    </a:lnTo>
                    <a:lnTo>
                      <a:pt x="126" y="90"/>
                    </a:lnTo>
                    <a:lnTo>
                      <a:pt x="132" y="90"/>
                    </a:lnTo>
                    <a:lnTo>
                      <a:pt x="138" y="114"/>
                    </a:lnTo>
                    <a:lnTo>
                      <a:pt x="156" y="114"/>
                    </a:lnTo>
                    <a:lnTo>
                      <a:pt x="156" y="126"/>
                    </a:lnTo>
                    <a:lnTo>
                      <a:pt x="150" y="132"/>
                    </a:lnTo>
                    <a:lnTo>
                      <a:pt x="144" y="132"/>
                    </a:lnTo>
                    <a:lnTo>
                      <a:pt x="144" y="150"/>
                    </a:lnTo>
                    <a:lnTo>
                      <a:pt x="54" y="144"/>
                    </a:lnTo>
                    <a:lnTo>
                      <a:pt x="24" y="192"/>
                    </a:lnTo>
                    <a:lnTo>
                      <a:pt x="24" y="264"/>
                    </a:lnTo>
                    <a:lnTo>
                      <a:pt x="18" y="270"/>
                    </a:lnTo>
                    <a:lnTo>
                      <a:pt x="0" y="270"/>
                    </a:lnTo>
                    <a:lnTo>
                      <a:pt x="6" y="282"/>
                    </a:lnTo>
                    <a:lnTo>
                      <a:pt x="12" y="288"/>
                    </a:lnTo>
                    <a:lnTo>
                      <a:pt x="24" y="288"/>
                    </a:lnTo>
                    <a:lnTo>
                      <a:pt x="42" y="300"/>
                    </a:lnTo>
                    <a:lnTo>
                      <a:pt x="60" y="318"/>
                    </a:lnTo>
                    <a:lnTo>
                      <a:pt x="72" y="324"/>
                    </a:lnTo>
                    <a:lnTo>
                      <a:pt x="120" y="324"/>
                    </a:lnTo>
                    <a:lnTo>
                      <a:pt x="126" y="330"/>
                    </a:lnTo>
                    <a:lnTo>
                      <a:pt x="132" y="330"/>
                    </a:lnTo>
                    <a:lnTo>
                      <a:pt x="138" y="336"/>
                    </a:lnTo>
                    <a:lnTo>
                      <a:pt x="150" y="324"/>
                    </a:lnTo>
                    <a:lnTo>
                      <a:pt x="162" y="318"/>
                    </a:lnTo>
                    <a:lnTo>
                      <a:pt x="168" y="312"/>
                    </a:lnTo>
                    <a:lnTo>
                      <a:pt x="174" y="312"/>
                    </a:lnTo>
                    <a:lnTo>
                      <a:pt x="180" y="300"/>
                    </a:lnTo>
                    <a:lnTo>
                      <a:pt x="186" y="294"/>
                    </a:lnTo>
                    <a:lnTo>
                      <a:pt x="186" y="282"/>
                    </a:lnTo>
                    <a:lnTo>
                      <a:pt x="204" y="282"/>
                    </a:lnTo>
                    <a:lnTo>
                      <a:pt x="210" y="276"/>
                    </a:lnTo>
                    <a:lnTo>
                      <a:pt x="222" y="270"/>
                    </a:lnTo>
                    <a:lnTo>
                      <a:pt x="222" y="264"/>
                    </a:lnTo>
                    <a:lnTo>
                      <a:pt x="228" y="252"/>
                    </a:lnTo>
                    <a:lnTo>
                      <a:pt x="228" y="234"/>
                    </a:lnTo>
                    <a:lnTo>
                      <a:pt x="234" y="222"/>
                    </a:lnTo>
                    <a:lnTo>
                      <a:pt x="246" y="216"/>
                    </a:lnTo>
                    <a:lnTo>
                      <a:pt x="258" y="204"/>
                    </a:lnTo>
                    <a:lnTo>
                      <a:pt x="270" y="198"/>
                    </a:lnTo>
                    <a:lnTo>
                      <a:pt x="282" y="186"/>
                    </a:lnTo>
                    <a:lnTo>
                      <a:pt x="294" y="180"/>
                    </a:lnTo>
                    <a:lnTo>
                      <a:pt x="300" y="168"/>
                    </a:lnTo>
                    <a:lnTo>
                      <a:pt x="288" y="15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" name="El Salvador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94C9150-3705-4325-AB7C-9C5888EBA57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1702" y="526237"/>
                <a:ext cx="60829" cy="41024"/>
              </a:xfrm>
              <a:custGeom>
                <a:avLst/>
                <a:gdLst>
                  <a:gd name="T0" fmla="*/ 2147483647 w 174"/>
                  <a:gd name="T1" fmla="*/ 2147483647 h 114"/>
                  <a:gd name="T2" fmla="*/ 2147483647 w 174"/>
                  <a:gd name="T3" fmla="*/ 2147483647 h 114"/>
                  <a:gd name="T4" fmla="*/ 2147483647 w 174"/>
                  <a:gd name="T5" fmla="*/ 2147483647 h 114"/>
                  <a:gd name="T6" fmla="*/ 2147483647 w 174"/>
                  <a:gd name="T7" fmla="*/ 2147483647 h 114"/>
                  <a:gd name="T8" fmla="*/ 2147483647 w 174"/>
                  <a:gd name="T9" fmla="*/ 2147483647 h 114"/>
                  <a:gd name="T10" fmla="*/ 2147483647 w 174"/>
                  <a:gd name="T11" fmla="*/ 2147483647 h 114"/>
                  <a:gd name="T12" fmla="*/ 2147483647 w 174"/>
                  <a:gd name="T13" fmla="*/ 2147483647 h 114"/>
                  <a:gd name="T14" fmla="*/ 2147483647 w 174"/>
                  <a:gd name="T15" fmla="*/ 2147483647 h 114"/>
                  <a:gd name="T16" fmla="*/ 2147483647 w 174"/>
                  <a:gd name="T17" fmla="*/ 2147483647 h 114"/>
                  <a:gd name="T18" fmla="*/ 2147483647 w 174"/>
                  <a:gd name="T19" fmla="*/ 0 h 114"/>
                  <a:gd name="T20" fmla="*/ 2147483647 w 174"/>
                  <a:gd name="T21" fmla="*/ 2147483647 h 114"/>
                  <a:gd name="T22" fmla="*/ 2147483647 w 174"/>
                  <a:gd name="T23" fmla="*/ 2147483647 h 114"/>
                  <a:gd name="T24" fmla="*/ 2147483647 w 174"/>
                  <a:gd name="T25" fmla="*/ 2147483647 h 114"/>
                  <a:gd name="T26" fmla="*/ 2147483647 w 174"/>
                  <a:gd name="T27" fmla="*/ 2147483647 h 114"/>
                  <a:gd name="T28" fmla="*/ 2147483647 w 174"/>
                  <a:gd name="T29" fmla="*/ 2147483647 h 114"/>
                  <a:gd name="T30" fmla="*/ 2147483647 w 174"/>
                  <a:gd name="T31" fmla="*/ 2147483647 h 114"/>
                  <a:gd name="T32" fmla="*/ 2147483647 w 174"/>
                  <a:gd name="T33" fmla="*/ 2147483647 h 114"/>
                  <a:gd name="T34" fmla="*/ 2147483647 w 174"/>
                  <a:gd name="T35" fmla="*/ 2147483647 h 114"/>
                  <a:gd name="T36" fmla="*/ 0 w 174"/>
                  <a:gd name="T37" fmla="*/ 2147483647 h 114"/>
                  <a:gd name="T38" fmla="*/ 2147483647 w 174"/>
                  <a:gd name="T39" fmla="*/ 2147483647 h 114"/>
                  <a:gd name="T40" fmla="*/ 2147483647 w 174"/>
                  <a:gd name="T41" fmla="*/ 2147483647 h 114"/>
                  <a:gd name="T42" fmla="*/ 2147483647 w 174"/>
                  <a:gd name="T43" fmla="*/ 2147483647 h 114"/>
                  <a:gd name="T44" fmla="*/ 2147483647 w 174"/>
                  <a:gd name="T45" fmla="*/ 2147483647 h 114"/>
                  <a:gd name="T46" fmla="*/ 2147483647 w 174"/>
                  <a:gd name="T47" fmla="*/ 2147483647 h 114"/>
                  <a:gd name="T48" fmla="*/ 2147483647 w 174"/>
                  <a:gd name="T49" fmla="*/ 2147483647 h 114"/>
                  <a:gd name="T50" fmla="*/ 2147483647 w 174"/>
                  <a:gd name="T51" fmla="*/ 2147483647 h 114"/>
                  <a:gd name="T52" fmla="*/ 2147483647 w 174"/>
                  <a:gd name="T53" fmla="*/ 2147483647 h 114"/>
                  <a:gd name="T54" fmla="*/ 2147483647 w 174"/>
                  <a:gd name="T55" fmla="*/ 2147483647 h 114"/>
                  <a:gd name="T56" fmla="*/ 2147483647 w 174"/>
                  <a:gd name="T57" fmla="*/ 2147483647 h 11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74"/>
                  <a:gd name="T88" fmla="*/ 0 h 114"/>
                  <a:gd name="T89" fmla="*/ 174 w 174"/>
                  <a:gd name="T90" fmla="*/ 114 h 114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74" h="114">
                    <a:moveTo>
                      <a:pt x="174" y="84"/>
                    </a:moveTo>
                    <a:lnTo>
                      <a:pt x="174" y="42"/>
                    </a:lnTo>
                    <a:lnTo>
                      <a:pt x="138" y="42"/>
                    </a:lnTo>
                    <a:lnTo>
                      <a:pt x="132" y="48"/>
                    </a:lnTo>
                    <a:lnTo>
                      <a:pt x="120" y="48"/>
                    </a:lnTo>
                    <a:lnTo>
                      <a:pt x="114" y="42"/>
                    </a:lnTo>
                    <a:lnTo>
                      <a:pt x="114" y="24"/>
                    </a:lnTo>
                    <a:lnTo>
                      <a:pt x="90" y="24"/>
                    </a:lnTo>
                    <a:lnTo>
                      <a:pt x="78" y="12"/>
                    </a:lnTo>
                    <a:lnTo>
                      <a:pt x="72" y="0"/>
                    </a:lnTo>
                    <a:lnTo>
                      <a:pt x="60" y="6"/>
                    </a:lnTo>
                    <a:lnTo>
                      <a:pt x="48" y="6"/>
                    </a:lnTo>
                    <a:lnTo>
                      <a:pt x="48" y="18"/>
                    </a:lnTo>
                    <a:lnTo>
                      <a:pt x="42" y="24"/>
                    </a:lnTo>
                    <a:lnTo>
                      <a:pt x="36" y="36"/>
                    </a:lnTo>
                    <a:lnTo>
                      <a:pt x="30" y="36"/>
                    </a:lnTo>
                    <a:lnTo>
                      <a:pt x="24" y="42"/>
                    </a:lnTo>
                    <a:lnTo>
                      <a:pt x="12" y="48"/>
                    </a:lnTo>
                    <a:lnTo>
                      <a:pt x="0" y="60"/>
                    </a:lnTo>
                    <a:lnTo>
                      <a:pt x="6" y="66"/>
                    </a:lnTo>
                    <a:lnTo>
                      <a:pt x="18" y="72"/>
                    </a:lnTo>
                    <a:lnTo>
                      <a:pt x="24" y="78"/>
                    </a:lnTo>
                    <a:lnTo>
                      <a:pt x="72" y="78"/>
                    </a:lnTo>
                    <a:lnTo>
                      <a:pt x="96" y="102"/>
                    </a:lnTo>
                    <a:lnTo>
                      <a:pt x="132" y="96"/>
                    </a:lnTo>
                    <a:lnTo>
                      <a:pt x="150" y="114"/>
                    </a:lnTo>
                    <a:lnTo>
                      <a:pt x="168" y="84"/>
                    </a:lnTo>
                    <a:lnTo>
                      <a:pt x="174" y="90"/>
                    </a:lnTo>
                    <a:lnTo>
                      <a:pt x="174" y="84"/>
                    </a:lnTo>
                    <a:close/>
                  </a:path>
                </a:pathLst>
              </a:custGeom>
              <a:solidFill>
                <a:srgbClr val="93C11C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" name="Costa Ric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E51C1CA5-0905-4CAC-835A-5D5090289C4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0725" y="619602"/>
                <a:ext cx="86292" cy="83463"/>
              </a:xfrm>
              <a:custGeom>
                <a:avLst/>
                <a:gdLst>
                  <a:gd name="T0" fmla="*/ 2147483647 w 240"/>
                  <a:gd name="T1" fmla="*/ 2147483647 h 228"/>
                  <a:gd name="T2" fmla="*/ 2147483647 w 240"/>
                  <a:gd name="T3" fmla="*/ 2147483647 h 228"/>
                  <a:gd name="T4" fmla="*/ 2147483647 w 240"/>
                  <a:gd name="T5" fmla="*/ 2147483647 h 228"/>
                  <a:gd name="T6" fmla="*/ 2147483647 w 240"/>
                  <a:gd name="T7" fmla="*/ 2147483647 h 228"/>
                  <a:gd name="T8" fmla="*/ 2147483647 w 240"/>
                  <a:gd name="T9" fmla="*/ 2147483647 h 228"/>
                  <a:gd name="T10" fmla="*/ 2147483647 w 240"/>
                  <a:gd name="T11" fmla="*/ 2147483647 h 228"/>
                  <a:gd name="T12" fmla="*/ 2147483647 w 240"/>
                  <a:gd name="T13" fmla="*/ 2147483647 h 228"/>
                  <a:gd name="T14" fmla="*/ 2147483647 w 240"/>
                  <a:gd name="T15" fmla="*/ 2147483647 h 228"/>
                  <a:gd name="T16" fmla="*/ 2147483647 w 240"/>
                  <a:gd name="T17" fmla="*/ 2147483647 h 228"/>
                  <a:gd name="T18" fmla="*/ 2147483647 w 240"/>
                  <a:gd name="T19" fmla="*/ 2147483647 h 228"/>
                  <a:gd name="T20" fmla="*/ 2147483647 w 240"/>
                  <a:gd name="T21" fmla="*/ 2147483647 h 228"/>
                  <a:gd name="T22" fmla="*/ 2147483647 w 240"/>
                  <a:gd name="T23" fmla="*/ 2147483647 h 228"/>
                  <a:gd name="T24" fmla="*/ 2147483647 w 240"/>
                  <a:gd name="T25" fmla="*/ 2147483647 h 228"/>
                  <a:gd name="T26" fmla="*/ 2147483647 w 240"/>
                  <a:gd name="T27" fmla="*/ 2147483647 h 228"/>
                  <a:gd name="T28" fmla="*/ 2147483647 w 240"/>
                  <a:gd name="T29" fmla="*/ 2147483647 h 228"/>
                  <a:gd name="T30" fmla="*/ 2147483647 w 240"/>
                  <a:gd name="T31" fmla="*/ 0 h 228"/>
                  <a:gd name="T32" fmla="*/ 2147483647 w 240"/>
                  <a:gd name="T33" fmla="*/ 2147483647 h 228"/>
                  <a:gd name="T34" fmla="*/ 2147483647 w 240"/>
                  <a:gd name="T35" fmla="*/ 2147483647 h 228"/>
                  <a:gd name="T36" fmla="*/ 0 w 240"/>
                  <a:gd name="T37" fmla="*/ 2147483647 h 228"/>
                  <a:gd name="T38" fmla="*/ 2147483647 w 240"/>
                  <a:gd name="T39" fmla="*/ 2147483647 h 228"/>
                  <a:gd name="T40" fmla="*/ 2147483647 w 240"/>
                  <a:gd name="T41" fmla="*/ 2147483647 h 228"/>
                  <a:gd name="T42" fmla="*/ 2147483647 w 240"/>
                  <a:gd name="T43" fmla="*/ 2147483647 h 228"/>
                  <a:gd name="T44" fmla="*/ 2147483647 w 240"/>
                  <a:gd name="T45" fmla="*/ 2147483647 h 228"/>
                  <a:gd name="T46" fmla="*/ 2147483647 w 240"/>
                  <a:gd name="T47" fmla="*/ 2147483647 h 228"/>
                  <a:gd name="T48" fmla="*/ 2147483647 w 240"/>
                  <a:gd name="T49" fmla="*/ 2147483647 h 228"/>
                  <a:gd name="T50" fmla="*/ 2147483647 w 240"/>
                  <a:gd name="T51" fmla="*/ 2147483647 h 228"/>
                  <a:gd name="T52" fmla="*/ 2147483647 w 240"/>
                  <a:gd name="T53" fmla="*/ 2147483647 h 228"/>
                  <a:gd name="T54" fmla="*/ 2147483647 w 240"/>
                  <a:gd name="T55" fmla="*/ 2147483647 h 228"/>
                  <a:gd name="T56" fmla="*/ 2147483647 w 240"/>
                  <a:gd name="T57" fmla="*/ 2147483647 h 228"/>
                  <a:gd name="T58" fmla="*/ 2147483647 w 240"/>
                  <a:gd name="T59" fmla="*/ 2147483647 h 228"/>
                  <a:gd name="T60" fmla="*/ 2147483647 w 240"/>
                  <a:gd name="T61" fmla="*/ 2147483647 h 228"/>
                  <a:gd name="T62" fmla="*/ 2147483647 w 240"/>
                  <a:gd name="T63" fmla="*/ 2147483647 h 228"/>
                  <a:gd name="T64" fmla="*/ 2147483647 w 240"/>
                  <a:gd name="T65" fmla="*/ 2147483647 h 228"/>
                  <a:gd name="T66" fmla="*/ 2147483647 w 240"/>
                  <a:gd name="T67" fmla="*/ 2147483647 h 22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40"/>
                  <a:gd name="T103" fmla="*/ 0 h 228"/>
                  <a:gd name="T104" fmla="*/ 240 w 240"/>
                  <a:gd name="T105" fmla="*/ 228 h 228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40" h="228">
                    <a:moveTo>
                      <a:pt x="210" y="198"/>
                    </a:moveTo>
                    <a:lnTo>
                      <a:pt x="216" y="198"/>
                    </a:lnTo>
                    <a:lnTo>
                      <a:pt x="234" y="180"/>
                    </a:lnTo>
                    <a:lnTo>
                      <a:pt x="228" y="174"/>
                    </a:lnTo>
                    <a:lnTo>
                      <a:pt x="210" y="174"/>
                    </a:lnTo>
                    <a:lnTo>
                      <a:pt x="210" y="168"/>
                    </a:lnTo>
                    <a:lnTo>
                      <a:pt x="204" y="162"/>
                    </a:lnTo>
                    <a:lnTo>
                      <a:pt x="204" y="144"/>
                    </a:lnTo>
                    <a:lnTo>
                      <a:pt x="210" y="138"/>
                    </a:lnTo>
                    <a:lnTo>
                      <a:pt x="222" y="138"/>
                    </a:lnTo>
                    <a:lnTo>
                      <a:pt x="228" y="132"/>
                    </a:lnTo>
                    <a:lnTo>
                      <a:pt x="240" y="132"/>
                    </a:lnTo>
                    <a:lnTo>
                      <a:pt x="228" y="126"/>
                    </a:lnTo>
                    <a:lnTo>
                      <a:pt x="210" y="108"/>
                    </a:lnTo>
                    <a:lnTo>
                      <a:pt x="198" y="84"/>
                    </a:lnTo>
                    <a:lnTo>
                      <a:pt x="192" y="78"/>
                    </a:lnTo>
                    <a:lnTo>
                      <a:pt x="186" y="66"/>
                    </a:lnTo>
                    <a:lnTo>
                      <a:pt x="180" y="60"/>
                    </a:lnTo>
                    <a:lnTo>
                      <a:pt x="174" y="36"/>
                    </a:lnTo>
                    <a:lnTo>
                      <a:pt x="138" y="36"/>
                    </a:lnTo>
                    <a:lnTo>
                      <a:pt x="126" y="24"/>
                    </a:lnTo>
                    <a:lnTo>
                      <a:pt x="126" y="18"/>
                    </a:lnTo>
                    <a:lnTo>
                      <a:pt x="120" y="18"/>
                    </a:lnTo>
                    <a:lnTo>
                      <a:pt x="114" y="12"/>
                    </a:lnTo>
                    <a:lnTo>
                      <a:pt x="84" y="12"/>
                    </a:lnTo>
                    <a:lnTo>
                      <a:pt x="84" y="18"/>
                    </a:lnTo>
                    <a:lnTo>
                      <a:pt x="78" y="18"/>
                    </a:lnTo>
                    <a:lnTo>
                      <a:pt x="72" y="12"/>
                    </a:lnTo>
                    <a:lnTo>
                      <a:pt x="60" y="6"/>
                    </a:lnTo>
                    <a:lnTo>
                      <a:pt x="48" y="6"/>
                    </a:lnTo>
                    <a:lnTo>
                      <a:pt x="42" y="0"/>
                    </a:lnTo>
                    <a:lnTo>
                      <a:pt x="24" y="0"/>
                    </a:lnTo>
                    <a:lnTo>
                      <a:pt x="6" y="30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8"/>
                    </a:lnTo>
                    <a:lnTo>
                      <a:pt x="6" y="66"/>
                    </a:lnTo>
                    <a:lnTo>
                      <a:pt x="0" y="78"/>
                    </a:lnTo>
                    <a:lnTo>
                      <a:pt x="6" y="90"/>
                    </a:lnTo>
                    <a:lnTo>
                      <a:pt x="18" y="102"/>
                    </a:lnTo>
                    <a:lnTo>
                      <a:pt x="30" y="108"/>
                    </a:lnTo>
                    <a:lnTo>
                      <a:pt x="42" y="108"/>
                    </a:lnTo>
                    <a:lnTo>
                      <a:pt x="60" y="126"/>
                    </a:lnTo>
                    <a:lnTo>
                      <a:pt x="72" y="126"/>
                    </a:lnTo>
                    <a:lnTo>
                      <a:pt x="72" y="102"/>
                    </a:lnTo>
                    <a:lnTo>
                      <a:pt x="66" y="96"/>
                    </a:lnTo>
                    <a:lnTo>
                      <a:pt x="54" y="90"/>
                    </a:lnTo>
                    <a:lnTo>
                      <a:pt x="42" y="78"/>
                    </a:lnTo>
                    <a:lnTo>
                      <a:pt x="42" y="72"/>
                    </a:lnTo>
                    <a:lnTo>
                      <a:pt x="48" y="72"/>
                    </a:lnTo>
                    <a:lnTo>
                      <a:pt x="60" y="78"/>
                    </a:lnTo>
                    <a:lnTo>
                      <a:pt x="66" y="84"/>
                    </a:lnTo>
                    <a:lnTo>
                      <a:pt x="90" y="96"/>
                    </a:lnTo>
                    <a:lnTo>
                      <a:pt x="96" y="102"/>
                    </a:lnTo>
                    <a:lnTo>
                      <a:pt x="96" y="132"/>
                    </a:lnTo>
                    <a:lnTo>
                      <a:pt x="114" y="132"/>
                    </a:lnTo>
                    <a:lnTo>
                      <a:pt x="126" y="138"/>
                    </a:lnTo>
                    <a:lnTo>
                      <a:pt x="138" y="138"/>
                    </a:lnTo>
                    <a:lnTo>
                      <a:pt x="156" y="180"/>
                    </a:lnTo>
                    <a:lnTo>
                      <a:pt x="150" y="186"/>
                    </a:lnTo>
                    <a:lnTo>
                      <a:pt x="150" y="198"/>
                    </a:lnTo>
                    <a:lnTo>
                      <a:pt x="168" y="216"/>
                    </a:lnTo>
                    <a:lnTo>
                      <a:pt x="180" y="222"/>
                    </a:lnTo>
                    <a:lnTo>
                      <a:pt x="192" y="222"/>
                    </a:lnTo>
                    <a:lnTo>
                      <a:pt x="174" y="198"/>
                    </a:lnTo>
                    <a:lnTo>
                      <a:pt x="204" y="228"/>
                    </a:lnTo>
                    <a:lnTo>
                      <a:pt x="210" y="222"/>
                    </a:lnTo>
                    <a:lnTo>
                      <a:pt x="210" y="198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" name="Belize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5FEA4672-310A-48C7-AD5E-3EE8B078CF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2823" y="410239"/>
                <a:ext cx="39609" cy="74975"/>
              </a:xfrm>
              <a:custGeom>
                <a:avLst/>
                <a:gdLst>
                  <a:gd name="T0" fmla="*/ 2147483647 w 108"/>
                  <a:gd name="T1" fmla="*/ 2147483647 h 210"/>
                  <a:gd name="T2" fmla="*/ 2147483647 w 108"/>
                  <a:gd name="T3" fmla="*/ 2147483647 h 210"/>
                  <a:gd name="T4" fmla="*/ 2147483647 w 108"/>
                  <a:gd name="T5" fmla="*/ 2147483647 h 210"/>
                  <a:gd name="T6" fmla="*/ 2147483647 w 108"/>
                  <a:gd name="T7" fmla="*/ 2147483647 h 210"/>
                  <a:gd name="T8" fmla="*/ 2147483647 w 108"/>
                  <a:gd name="T9" fmla="*/ 2147483647 h 210"/>
                  <a:gd name="T10" fmla="*/ 2147483647 w 108"/>
                  <a:gd name="T11" fmla="*/ 0 h 210"/>
                  <a:gd name="T12" fmla="*/ 2147483647 w 108"/>
                  <a:gd name="T13" fmla="*/ 2147483647 h 210"/>
                  <a:gd name="T14" fmla="*/ 2147483647 w 108"/>
                  <a:gd name="T15" fmla="*/ 2147483647 h 210"/>
                  <a:gd name="T16" fmla="*/ 2147483647 w 108"/>
                  <a:gd name="T17" fmla="*/ 2147483647 h 210"/>
                  <a:gd name="T18" fmla="*/ 2147483647 w 108"/>
                  <a:gd name="T19" fmla="*/ 2147483647 h 210"/>
                  <a:gd name="T20" fmla="*/ 2147483647 w 108"/>
                  <a:gd name="T21" fmla="*/ 2147483647 h 210"/>
                  <a:gd name="T22" fmla="*/ 2147483647 w 108"/>
                  <a:gd name="T23" fmla="*/ 2147483647 h 210"/>
                  <a:gd name="T24" fmla="*/ 2147483647 w 108"/>
                  <a:gd name="T25" fmla="*/ 2147483647 h 210"/>
                  <a:gd name="T26" fmla="*/ 2147483647 w 108"/>
                  <a:gd name="T27" fmla="*/ 2147483647 h 210"/>
                  <a:gd name="T28" fmla="*/ 2147483647 w 108"/>
                  <a:gd name="T29" fmla="*/ 2147483647 h 210"/>
                  <a:gd name="T30" fmla="*/ 2147483647 w 108"/>
                  <a:gd name="T31" fmla="*/ 2147483647 h 210"/>
                  <a:gd name="T32" fmla="*/ 2147483647 w 108"/>
                  <a:gd name="T33" fmla="*/ 2147483647 h 210"/>
                  <a:gd name="T34" fmla="*/ 2147483647 w 108"/>
                  <a:gd name="T35" fmla="*/ 2147483647 h 210"/>
                  <a:gd name="T36" fmla="*/ 0 w 108"/>
                  <a:gd name="T37" fmla="*/ 2147483647 h 210"/>
                  <a:gd name="T38" fmla="*/ 2147483647 w 108"/>
                  <a:gd name="T39" fmla="*/ 2147483647 h 210"/>
                  <a:gd name="T40" fmla="*/ 2147483647 w 108"/>
                  <a:gd name="T41" fmla="*/ 2147483647 h 210"/>
                  <a:gd name="T42" fmla="*/ 2147483647 w 108"/>
                  <a:gd name="T43" fmla="*/ 2147483647 h 210"/>
                  <a:gd name="T44" fmla="*/ 2147483647 w 108"/>
                  <a:gd name="T45" fmla="*/ 2147483647 h 210"/>
                  <a:gd name="T46" fmla="*/ 2147483647 w 108"/>
                  <a:gd name="T47" fmla="*/ 2147483647 h 210"/>
                  <a:gd name="T48" fmla="*/ 2147483647 w 108"/>
                  <a:gd name="T49" fmla="*/ 2147483647 h 210"/>
                  <a:gd name="T50" fmla="*/ 2147483647 w 108"/>
                  <a:gd name="T51" fmla="*/ 2147483647 h 210"/>
                  <a:gd name="T52" fmla="*/ 2147483647 w 108"/>
                  <a:gd name="T53" fmla="*/ 2147483647 h 210"/>
                  <a:gd name="T54" fmla="*/ 2147483647 w 108"/>
                  <a:gd name="T55" fmla="*/ 2147483647 h 210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108"/>
                  <a:gd name="T85" fmla="*/ 0 h 210"/>
                  <a:gd name="T86" fmla="*/ 108 w 108"/>
                  <a:gd name="T87" fmla="*/ 210 h 210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108" h="210">
                    <a:moveTo>
                      <a:pt x="108" y="30"/>
                    </a:moveTo>
                    <a:lnTo>
                      <a:pt x="108" y="24"/>
                    </a:lnTo>
                    <a:lnTo>
                      <a:pt x="102" y="24"/>
                    </a:lnTo>
                    <a:lnTo>
                      <a:pt x="90" y="18"/>
                    </a:lnTo>
                    <a:lnTo>
                      <a:pt x="84" y="12"/>
                    </a:lnTo>
                    <a:lnTo>
                      <a:pt x="78" y="0"/>
                    </a:lnTo>
                    <a:lnTo>
                      <a:pt x="78" y="6"/>
                    </a:lnTo>
                    <a:lnTo>
                      <a:pt x="72" y="12"/>
                    </a:lnTo>
                    <a:lnTo>
                      <a:pt x="72" y="24"/>
                    </a:lnTo>
                    <a:lnTo>
                      <a:pt x="66" y="36"/>
                    </a:lnTo>
                    <a:lnTo>
                      <a:pt x="54" y="42"/>
                    </a:lnTo>
                    <a:lnTo>
                      <a:pt x="48" y="48"/>
                    </a:lnTo>
                    <a:lnTo>
                      <a:pt x="42" y="48"/>
                    </a:lnTo>
                    <a:lnTo>
                      <a:pt x="42" y="42"/>
                    </a:lnTo>
                    <a:lnTo>
                      <a:pt x="36" y="36"/>
                    </a:lnTo>
                    <a:lnTo>
                      <a:pt x="30" y="36"/>
                    </a:lnTo>
                    <a:lnTo>
                      <a:pt x="30" y="42"/>
                    </a:lnTo>
                    <a:lnTo>
                      <a:pt x="24" y="54"/>
                    </a:lnTo>
                    <a:lnTo>
                      <a:pt x="0" y="210"/>
                    </a:lnTo>
                    <a:lnTo>
                      <a:pt x="30" y="210"/>
                    </a:lnTo>
                    <a:lnTo>
                      <a:pt x="42" y="168"/>
                    </a:lnTo>
                    <a:lnTo>
                      <a:pt x="60" y="174"/>
                    </a:lnTo>
                    <a:lnTo>
                      <a:pt x="84" y="150"/>
                    </a:lnTo>
                    <a:lnTo>
                      <a:pt x="84" y="90"/>
                    </a:lnTo>
                    <a:lnTo>
                      <a:pt x="90" y="78"/>
                    </a:lnTo>
                    <a:lnTo>
                      <a:pt x="96" y="60"/>
                    </a:lnTo>
                    <a:lnTo>
                      <a:pt x="108" y="36"/>
                    </a:lnTo>
                    <a:lnTo>
                      <a:pt x="108" y="3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" name="Venezuel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73AE2FC3-F9E8-40FC-B464-567BBF3A8DE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70429" y="592725"/>
                <a:ext cx="342338" cy="333849"/>
              </a:xfrm>
              <a:custGeom>
                <a:avLst/>
                <a:gdLst>
                  <a:gd name="T0" fmla="*/ 2147483647 w 954"/>
                  <a:gd name="T1" fmla="*/ 2147483647 h 930"/>
                  <a:gd name="T2" fmla="*/ 2147483647 w 954"/>
                  <a:gd name="T3" fmla="*/ 2147483647 h 930"/>
                  <a:gd name="T4" fmla="*/ 2147483647 w 954"/>
                  <a:gd name="T5" fmla="*/ 2147483647 h 930"/>
                  <a:gd name="T6" fmla="*/ 2147483647 w 954"/>
                  <a:gd name="T7" fmla="*/ 2147483647 h 930"/>
                  <a:gd name="T8" fmla="*/ 2147483647 w 954"/>
                  <a:gd name="T9" fmla="*/ 2147483647 h 930"/>
                  <a:gd name="T10" fmla="*/ 2147483647 w 954"/>
                  <a:gd name="T11" fmla="*/ 2147483647 h 930"/>
                  <a:gd name="T12" fmla="*/ 2147483647 w 954"/>
                  <a:gd name="T13" fmla="*/ 2147483647 h 930"/>
                  <a:gd name="T14" fmla="*/ 2147483647 w 954"/>
                  <a:gd name="T15" fmla="*/ 2147483647 h 930"/>
                  <a:gd name="T16" fmla="*/ 2147483647 w 954"/>
                  <a:gd name="T17" fmla="*/ 2147483647 h 930"/>
                  <a:gd name="T18" fmla="*/ 2147483647 w 954"/>
                  <a:gd name="T19" fmla="*/ 2147483647 h 930"/>
                  <a:gd name="T20" fmla="*/ 2147483647 w 954"/>
                  <a:gd name="T21" fmla="*/ 2147483647 h 930"/>
                  <a:gd name="T22" fmla="*/ 2147483647 w 954"/>
                  <a:gd name="T23" fmla="*/ 2147483647 h 930"/>
                  <a:gd name="T24" fmla="*/ 2147483647 w 954"/>
                  <a:gd name="T25" fmla="*/ 2147483647 h 930"/>
                  <a:gd name="T26" fmla="*/ 2147483647 w 954"/>
                  <a:gd name="T27" fmla="*/ 2147483647 h 930"/>
                  <a:gd name="T28" fmla="*/ 2147483647 w 954"/>
                  <a:gd name="T29" fmla="*/ 2147483647 h 930"/>
                  <a:gd name="T30" fmla="*/ 2147483647 w 954"/>
                  <a:gd name="T31" fmla="*/ 2147483647 h 930"/>
                  <a:gd name="T32" fmla="*/ 2147483647 w 954"/>
                  <a:gd name="T33" fmla="*/ 2147483647 h 930"/>
                  <a:gd name="T34" fmla="*/ 2147483647 w 954"/>
                  <a:gd name="T35" fmla="*/ 2147483647 h 930"/>
                  <a:gd name="T36" fmla="*/ 2147483647 w 954"/>
                  <a:gd name="T37" fmla="*/ 2147483647 h 930"/>
                  <a:gd name="T38" fmla="*/ 2147483647 w 954"/>
                  <a:gd name="T39" fmla="*/ 2147483647 h 930"/>
                  <a:gd name="T40" fmla="*/ 2147483647 w 954"/>
                  <a:gd name="T41" fmla="*/ 2147483647 h 930"/>
                  <a:gd name="T42" fmla="*/ 2147483647 w 954"/>
                  <a:gd name="T43" fmla="*/ 2147483647 h 930"/>
                  <a:gd name="T44" fmla="*/ 2147483647 w 954"/>
                  <a:gd name="T45" fmla="*/ 2147483647 h 930"/>
                  <a:gd name="T46" fmla="*/ 2147483647 w 954"/>
                  <a:gd name="T47" fmla="*/ 2147483647 h 930"/>
                  <a:gd name="T48" fmla="*/ 2147483647 w 954"/>
                  <a:gd name="T49" fmla="*/ 2147483647 h 930"/>
                  <a:gd name="T50" fmla="*/ 0 w 954"/>
                  <a:gd name="T51" fmla="*/ 2147483647 h 930"/>
                  <a:gd name="T52" fmla="*/ 2147483647 w 954"/>
                  <a:gd name="T53" fmla="*/ 2147483647 h 930"/>
                  <a:gd name="T54" fmla="*/ 2147483647 w 954"/>
                  <a:gd name="T55" fmla="*/ 2147483647 h 930"/>
                  <a:gd name="T56" fmla="*/ 2147483647 w 954"/>
                  <a:gd name="T57" fmla="*/ 2147483647 h 930"/>
                  <a:gd name="T58" fmla="*/ 2147483647 w 954"/>
                  <a:gd name="T59" fmla="*/ 2147483647 h 930"/>
                  <a:gd name="T60" fmla="*/ 2147483647 w 954"/>
                  <a:gd name="T61" fmla="*/ 2147483647 h 930"/>
                  <a:gd name="T62" fmla="*/ 2147483647 w 954"/>
                  <a:gd name="T63" fmla="*/ 2147483647 h 930"/>
                  <a:gd name="T64" fmla="*/ 2147483647 w 954"/>
                  <a:gd name="T65" fmla="*/ 2147483647 h 930"/>
                  <a:gd name="T66" fmla="*/ 2147483647 w 954"/>
                  <a:gd name="T67" fmla="*/ 2147483647 h 930"/>
                  <a:gd name="T68" fmla="*/ 2147483647 w 954"/>
                  <a:gd name="T69" fmla="*/ 2147483647 h 930"/>
                  <a:gd name="T70" fmla="*/ 2147483647 w 954"/>
                  <a:gd name="T71" fmla="*/ 2147483647 h 930"/>
                  <a:gd name="T72" fmla="*/ 2147483647 w 954"/>
                  <a:gd name="T73" fmla="*/ 2147483647 h 930"/>
                  <a:gd name="T74" fmla="*/ 2147483647 w 954"/>
                  <a:gd name="T75" fmla="*/ 2147483647 h 930"/>
                  <a:gd name="T76" fmla="*/ 2147483647 w 954"/>
                  <a:gd name="T77" fmla="*/ 2147483647 h 930"/>
                  <a:gd name="T78" fmla="*/ 2147483647 w 954"/>
                  <a:gd name="T79" fmla="*/ 2147483647 h 930"/>
                  <a:gd name="T80" fmla="*/ 2147483647 w 954"/>
                  <a:gd name="T81" fmla="*/ 2147483647 h 930"/>
                  <a:gd name="T82" fmla="*/ 2147483647 w 954"/>
                  <a:gd name="T83" fmla="*/ 2147483647 h 930"/>
                  <a:gd name="T84" fmla="*/ 2147483647 w 954"/>
                  <a:gd name="T85" fmla="*/ 2147483647 h 930"/>
                  <a:gd name="T86" fmla="*/ 2147483647 w 954"/>
                  <a:gd name="T87" fmla="*/ 2147483647 h 930"/>
                  <a:gd name="T88" fmla="*/ 2147483647 w 954"/>
                  <a:gd name="T89" fmla="*/ 2147483647 h 930"/>
                  <a:gd name="T90" fmla="*/ 2147483647 w 954"/>
                  <a:gd name="T91" fmla="*/ 2147483647 h 930"/>
                  <a:gd name="T92" fmla="*/ 2147483647 w 954"/>
                  <a:gd name="T93" fmla="*/ 2147483647 h 930"/>
                  <a:gd name="T94" fmla="*/ 2147483647 w 954"/>
                  <a:gd name="T95" fmla="*/ 2147483647 h 930"/>
                  <a:gd name="T96" fmla="*/ 2147483647 w 954"/>
                  <a:gd name="T97" fmla="*/ 2147483647 h 930"/>
                  <a:gd name="T98" fmla="*/ 2147483647 w 954"/>
                  <a:gd name="T99" fmla="*/ 2147483647 h 930"/>
                  <a:gd name="T100" fmla="*/ 2147483647 w 954"/>
                  <a:gd name="T101" fmla="*/ 2147483647 h 930"/>
                  <a:gd name="T102" fmla="*/ 2147483647 w 954"/>
                  <a:gd name="T103" fmla="*/ 2147483647 h 930"/>
                  <a:gd name="T104" fmla="*/ 2147483647 w 954"/>
                  <a:gd name="T105" fmla="*/ 2147483647 h 930"/>
                  <a:gd name="T106" fmla="*/ 2147483647 w 954"/>
                  <a:gd name="T107" fmla="*/ 2147483647 h 930"/>
                  <a:gd name="T108" fmla="*/ 2147483647 w 954"/>
                  <a:gd name="T109" fmla="*/ 2147483647 h 930"/>
                  <a:gd name="T110" fmla="*/ 2147483647 w 954"/>
                  <a:gd name="T111" fmla="*/ 2147483647 h 930"/>
                  <a:gd name="T112" fmla="*/ 2147483647 w 954"/>
                  <a:gd name="T113" fmla="*/ 2147483647 h 930"/>
                  <a:gd name="T114" fmla="*/ 2147483647 w 954"/>
                  <a:gd name="T115" fmla="*/ 2147483647 h 930"/>
                  <a:gd name="T116" fmla="*/ 2147483647 w 954"/>
                  <a:gd name="T117" fmla="*/ 2147483647 h 930"/>
                  <a:gd name="T118" fmla="*/ 2147483647 w 954"/>
                  <a:gd name="T119" fmla="*/ 2147483647 h 93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954"/>
                  <a:gd name="T181" fmla="*/ 0 h 930"/>
                  <a:gd name="T182" fmla="*/ 954 w 954"/>
                  <a:gd name="T183" fmla="*/ 930 h 93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954" h="930">
                    <a:moveTo>
                      <a:pt x="264" y="42"/>
                    </a:moveTo>
                    <a:lnTo>
                      <a:pt x="264" y="12"/>
                    </a:lnTo>
                    <a:lnTo>
                      <a:pt x="252" y="0"/>
                    </a:lnTo>
                    <a:lnTo>
                      <a:pt x="234" y="0"/>
                    </a:lnTo>
                    <a:lnTo>
                      <a:pt x="228" y="6"/>
                    </a:lnTo>
                    <a:lnTo>
                      <a:pt x="228" y="18"/>
                    </a:lnTo>
                    <a:lnTo>
                      <a:pt x="234" y="24"/>
                    </a:lnTo>
                    <a:lnTo>
                      <a:pt x="234" y="36"/>
                    </a:lnTo>
                    <a:lnTo>
                      <a:pt x="240" y="42"/>
                    </a:lnTo>
                    <a:lnTo>
                      <a:pt x="264" y="42"/>
                    </a:lnTo>
                    <a:close/>
                    <a:moveTo>
                      <a:pt x="936" y="276"/>
                    </a:moveTo>
                    <a:lnTo>
                      <a:pt x="930" y="276"/>
                    </a:lnTo>
                    <a:lnTo>
                      <a:pt x="924" y="282"/>
                    </a:lnTo>
                    <a:lnTo>
                      <a:pt x="912" y="288"/>
                    </a:lnTo>
                    <a:lnTo>
                      <a:pt x="906" y="294"/>
                    </a:lnTo>
                    <a:lnTo>
                      <a:pt x="900" y="288"/>
                    </a:lnTo>
                    <a:lnTo>
                      <a:pt x="888" y="288"/>
                    </a:lnTo>
                    <a:lnTo>
                      <a:pt x="882" y="282"/>
                    </a:lnTo>
                    <a:lnTo>
                      <a:pt x="876" y="282"/>
                    </a:lnTo>
                    <a:lnTo>
                      <a:pt x="852" y="306"/>
                    </a:lnTo>
                    <a:lnTo>
                      <a:pt x="822" y="282"/>
                    </a:lnTo>
                    <a:lnTo>
                      <a:pt x="846" y="282"/>
                    </a:lnTo>
                    <a:lnTo>
                      <a:pt x="858" y="276"/>
                    </a:lnTo>
                    <a:lnTo>
                      <a:pt x="864" y="276"/>
                    </a:lnTo>
                    <a:lnTo>
                      <a:pt x="870" y="264"/>
                    </a:lnTo>
                    <a:lnTo>
                      <a:pt x="870" y="246"/>
                    </a:lnTo>
                    <a:lnTo>
                      <a:pt x="882" y="234"/>
                    </a:lnTo>
                    <a:lnTo>
                      <a:pt x="888" y="222"/>
                    </a:lnTo>
                    <a:lnTo>
                      <a:pt x="876" y="210"/>
                    </a:lnTo>
                    <a:lnTo>
                      <a:pt x="846" y="210"/>
                    </a:lnTo>
                    <a:lnTo>
                      <a:pt x="846" y="204"/>
                    </a:lnTo>
                    <a:lnTo>
                      <a:pt x="840" y="198"/>
                    </a:lnTo>
                    <a:lnTo>
                      <a:pt x="840" y="192"/>
                    </a:lnTo>
                    <a:lnTo>
                      <a:pt x="834" y="186"/>
                    </a:lnTo>
                    <a:lnTo>
                      <a:pt x="828" y="186"/>
                    </a:lnTo>
                    <a:lnTo>
                      <a:pt x="822" y="192"/>
                    </a:lnTo>
                    <a:lnTo>
                      <a:pt x="822" y="210"/>
                    </a:lnTo>
                    <a:lnTo>
                      <a:pt x="816" y="198"/>
                    </a:lnTo>
                    <a:lnTo>
                      <a:pt x="816" y="180"/>
                    </a:lnTo>
                    <a:lnTo>
                      <a:pt x="792" y="180"/>
                    </a:lnTo>
                    <a:lnTo>
                      <a:pt x="786" y="210"/>
                    </a:lnTo>
                    <a:lnTo>
                      <a:pt x="780" y="204"/>
                    </a:lnTo>
                    <a:lnTo>
                      <a:pt x="774" y="192"/>
                    </a:lnTo>
                    <a:lnTo>
                      <a:pt x="774" y="186"/>
                    </a:lnTo>
                    <a:lnTo>
                      <a:pt x="768" y="180"/>
                    </a:lnTo>
                    <a:lnTo>
                      <a:pt x="768" y="156"/>
                    </a:lnTo>
                    <a:lnTo>
                      <a:pt x="738" y="168"/>
                    </a:lnTo>
                    <a:lnTo>
                      <a:pt x="744" y="162"/>
                    </a:lnTo>
                    <a:lnTo>
                      <a:pt x="756" y="156"/>
                    </a:lnTo>
                    <a:lnTo>
                      <a:pt x="762" y="156"/>
                    </a:lnTo>
                    <a:lnTo>
                      <a:pt x="762" y="144"/>
                    </a:lnTo>
                    <a:lnTo>
                      <a:pt x="750" y="138"/>
                    </a:lnTo>
                    <a:lnTo>
                      <a:pt x="744" y="138"/>
                    </a:lnTo>
                    <a:lnTo>
                      <a:pt x="744" y="132"/>
                    </a:lnTo>
                    <a:lnTo>
                      <a:pt x="750" y="132"/>
                    </a:lnTo>
                    <a:lnTo>
                      <a:pt x="762" y="126"/>
                    </a:lnTo>
                    <a:lnTo>
                      <a:pt x="774" y="126"/>
                    </a:lnTo>
                    <a:lnTo>
                      <a:pt x="792" y="120"/>
                    </a:lnTo>
                    <a:lnTo>
                      <a:pt x="804" y="120"/>
                    </a:lnTo>
                    <a:lnTo>
                      <a:pt x="810" y="114"/>
                    </a:lnTo>
                    <a:lnTo>
                      <a:pt x="726" y="114"/>
                    </a:lnTo>
                    <a:lnTo>
                      <a:pt x="690" y="120"/>
                    </a:lnTo>
                    <a:lnTo>
                      <a:pt x="678" y="120"/>
                    </a:lnTo>
                    <a:lnTo>
                      <a:pt x="690" y="132"/>
                    </a:lnTo>
                    <a:lnTo>
                      <a:pt x="678" y="132"/>
                    </a:lnTo>
                    <a:lnTo>
                      <a:pt x="666" y="138"/>
                    </a:lnTo>
                    <a:lnTo>
                      <a:pt x="654" y="138"/>
                    </a:lnTo>
                    <a:lnTo>
                      <a:pt x="642" y="144"/>
                    </a:lnTo>
                    <a:lnTo>
                      <a:pt x="636" y="144"/>
                    </a:lnTo>
                    <a:lnTo>
                      <a:pt x="624" y="150"/>
                    </a:lnTo>
                    <a:lnTo>
                      <a:pt x="606" y="168"/>
                    </a:lnTo>
                    <a:lnTo>
                      <a:pt x="594" y="174"/>
                    </a:lnTo>
                    <a:lnTo>
                      <a:pt x="576" y="174"/>
                    </a:lnTo>
                    <a:lnTo>
                      <a:pt x="564" y="162"/>
                    </a:lnTo>
                    <a:lnTo>
                      <a:pt x="546" y="156"/>
                    </a:lnTo>
                    <a:lnTo>
                      <a:pt x="534" y="144"/>
                    </a:lnTo>
                    <a:lnTo>
                      <a:pt x="522" y="138"/>
                    </a:lnTo>
                    <a:lnTo>
                      <a:pt x="510" y="126"/>
                    </a:lnTo>
                    <a:lnTo>
                      <a:pt x="492" y="126"/>
                    </a:lnTo>
                    <a:lnTo>
                      <a:pt x="450" y="132"/>
                    </a:lnTo>
                    <a:lnTo>
                      <a:pt x="372" y="132"/>
                    </a:lnTo>
                    <a:lnTo>
                      <a:pt x="360" y="120"/>
                    </a:lnTo>
                    <a:lnTo>
                      <a:pt x="354" y="108"/>
                    </a:lnTo>
                    <a:lnTo>
                      <a:pt x="354" y="84"/>
                    </a:lnTo>
                    <a:lnTo>
                      <a:pt x="348" y="72"/>
                    </a:lnTo>
                    <a:lnTo>
                      <a:pt x="336" y="60"/>
                    </a:lnTo>
                    <a:lnTo>
                      <a:pt x="324" y="54"/>
                    </a:lnTo>
                    <a:lnTo>
                      <a:pt x="276" y="54"/>
                    </a:lnTo>
                    <a:lnTo>
                      <a:pt x="240" y="60"/>
                    </a:lnTo>
                    <a:lnTo>
                      <a:pt x="222" y="72"/>
                    </a:lnTo>
                    <a:lnTo>
                      <a:pt x="210" y="78"/>
                    </a:lnTo>
                    <a:lnTo>
                      <a:pt x="204" y="78"/>
                    </a:lnTo>
                    <a:lnTo>
                      <a:pt x="180" y="90"/>
                    </a:lnTo>
                    <a:lnTo>
                      <a:pt x="162" y="96"/>
                    </a:lnTo>
                    <a:lnTo>
                      <a:pt x="144" y="108"/>
                    </a:lnTo>
                    <a:lnTo>
                      <a:pt x="138" y="120"/>
                    </a:lnTo>
                    <a:lnTo>
                      <a:pt x="138" y="144"/>
                    </a:lnTo>
                    <a:lnTo>
                      <a:pt x="150" y="168"/>
                    </a:lnTo>
                    <a:lnTo>
                      <a:pt x="156" y="186"/>
                    </a:lnTo>
                    <a:lnTo>
                      <a:pt x="162" y="198"/>
                    </a:lnTo>
                    <a:lnTo>
                      <a:pt x="156" y="210"/>
                    </a:lnTo>
                    <a:lnTo>
                      <a:pt x="150" y="228"/>
                    </a:lnTo>
                    <a:lnTo>
                      <a:pt x="138" y="234"/>
                    </a:lnTo>
                    <a:lnTo>
                      <a:pt x="132" y="246"/>
                    </a:lnTo>
                    <a:lnTo>
                      <a:pt x="126" y="252"/>
                    </a:lnTo>
                    <a:lnTo>
                      <a:pt x="120" y="252"/>
                    </a:lnTo>
                    <a:lnTo>
                      <a:pt x="126" y="222"/>
                    </a:lnTo>
                    <a:lnTo>
                      <a:pt x="114" y="222"/>
                    </a:lnTo>
                    <a:lnTo>
                      <a:pt x="108" y="216"/>
                    </a:lnTo>
                    <a:lnTo>
                      <a:pt x="96" y="210"/>
                    </a:lnTo>
                    <a:lnTo>
                      <a:pt x="90" y="204"/>
                    </a:lnTo>
                    <a:lnTo>
                      <a:pt x="84" y="192"/>
                    </a:lnTo>
                    <a:lnTo>
                      <a:pt x="96" y="168"/>
                    </a:lnTo>
                    <a:lnTo>
                      <a:pt x="108" y="156"/>
                    </a:lnTo>
                    <a:lnTo>
                      <a:pt x="120" y="132"/>
                    </a:lnTo>
                    <a:lnTo>
                      <a:pt x="120" y="78"/>
                    </a:lnTo>
                    <a:lnTo>
                      <a:pt x="114" y="66"/>
                    </a:lnTo>
                    <a:lnTo>
                      <a:pt x="114" y="54"/>
                    </a:lnTo>
                    <a:lnTo>
                      <a:pt x="108" y="48"/>
                    </a:lnTo>
                    <a:lnTo>
                      <a:pt x="108" y="54"/>
                    </a:lnTo>
                    <a:lnTo>
                      <a:pt x="102" y="66"/>
                    </a:lnTo>
                    <a:lnTo>
                      <a:pt x="90" y="78"/>
                    </a:lnTo>
                    <a:lnTo>
                      <a:pt x="72" y="84"/>
                    </a:lnTo>
                    <a:lnTo>
                      <a:pt x="48" y="108"/>
                    </a:lnTo>
                    <a:lnTo>
                      <a:pt x="36" y="144"/>
                    </a:lnTo>
                    <a:lnTo>
                      <a:pt x="36" y="162"/>
                    </a:lnTo>
                    <a:lnTo>
                      <a:pt x="30" y="168"/>
                    </a:lnTo>
                    <a:lnTo>
                      <a:pt x="30" y="192"/>
                    </a:lnTo>
                    <a:lnTo>
                      <a:pt x="6" y="216"/>
                    </a:lnTo>
                    <a:lnTo>
                      <a:pt x="0" y="228"/>
                    </a:lnTo>
                    <a:lnTo>
                      <a:pt x="0" y="240"/>
                    </a:lnTo>
                    <a:lnTo>
                      <a:pt x="6" y="246"/>
                    </a:lnTo>
                    <a:lnTo>
                      <a:pt x="6" y="240"/>
                    </a:lnTo>
                    <a:lnTo>
                      <a:pt x="18" y="228"/>
                    </a:lnTo>
                    <a:lnTo>
                      <a:pt x="24" y="228"/>
                    </a:lnTo>
                    <a:lnTo>
                      <a:pt x="36" y="240"/>
                    </a:lnTo>
                    <a:lnTo>
                      <a:pt x="42" y="252"/>
                    </a:lnTo>
                    <a:lnTo>
                      <a:pt x="42" y="288"/>
                    </a:lnTo>
                    <a:lnTo>
                      <a:pt x="48" y="294"/>
                    </a:lnTo>
                    <a:lnTo>
                      <a:pt x="60" y="300"/>
                    </a:lnTo>
                    <a:lnTo>
                      <a:pt x="66" y="306"/>
                    </a:lnTo>
                    <a:lnTo>
                      <a:pt x="66" y="318"/>
                    </a:lnTo>
                    <a:lnTo>
                      <a:pt x="54" y="342"/>
                    </a:lnTo>
                    <a:lnTo>
                      <a:pt x="54" y="384"/>
                    </a:lnTo>
                    <a:lnTo>
                      <a:pt x="66" y="384"/>
                    </a:lnTo>
                    <a:lnTo>
                      <a:pt x="66" y="396"/>
                    </a:lnTo>
                    <a:lnTo>
                      <a:pt x="72" y="408"/>
                    </a:lnTo>
                    <a:lnTo>
                      <a:pt x="78" y="414"/>
                    </a:lnTo>
                    <a:lnTo>
                      <a:pt x="102" y="414"/>
                    </a:lnTo>
                    <a:lnTo>
                      <a:pt x="108" y="408"/>
                    </a:lnTo>
                    <a:lnTo>
                      <a:pt x="120" y="408"/>
                    </a:lnTo>
                    <a:lnTo>
                      <a:pt x="132" y="414"/>
                    </a:lnTo>
                    <a:lnTo>
                      <a:pt x="138" y="414"/>
                    </a:lnTo>
                    <a:lnTo>
                      <a:pt x="150" y="420"/>
                    </a:lnTo>
                    <a:lnTo>
                      <a:pt x="162" y="420"/>
                    </a:lnTo>
                    <a:lnTo>
                      <a:pt x="168" y="414"/>
                    </a:lnTo>
                    <a:lnTo>
                      <a:pt x="168" y="408"/>
                    </a:lnTo>
                    <a:lnTo>
                      <a:pt x="180" y="408"/>
                    </a:lnTo>
                    <a:lnTo>
                      <a:pt x="186" y="414"/>
                    </a:lnTo>
                    <a:lnTo>
                      <a:pt x="198" y="420"/>
                    </a:lnTo>
                    <a:lnTo>
                      <a:pt x="222" y="420"/>
                    </a:lnTo>
                    <a:lnTo>
                      <a:pt x="222" y="426"/>
                    </a:lnTo>
                    <a:lnTo>
                      <a:pt x="228" y="432"/>
                    </a:lnTo>
                    <a:lnTo>
                      <a:pt x="234" y="444"/>
                    </a:lnTo>
                    <a:lnTo>
                      <a:pt x="240" y="462"/>
                    </a:lnTo>
                    <a:lnTo>
                      <a:pt x="264" y="486"/>
                    </a:lnTo>
                    <a:lnTo>
                      <a:pt x="288" y="486"/>
                    </a:lnTo>
                    <a:lnTo>
                      <a:pt x="288" y="480"/>
                    </a:lnTo>
                    <a:lnTo>
                      <a:pt x="306" y="480"/>
                    </a:lnTo>
                    <a:lnTo>
                      <a:pt x="312" y="486"/>
                    </a:lnTo>
                    <a:lnTo>
                      <a:pt x="336" y="486"/>
                    </a:lnTo>
                    <a:lnTo>
                      <a:pt x="342" y="480"/>
                    </a:lnTo>
                    <a:lnTo>
                      <a:pt x="366" y="486"/>
                    </a:lnTo>
                    <a:lnTo>
                      <a:pt x="372" y="480"/>
                    </a:lnTo>
                    <a:lnTo>
                      <a:pt x="384" y="474"/>
                    </a:lnTo>
                    <a:lnTo>
                      <a:pt x="402" y="474"/>
                    </a:lnTo>
                    <a:lnTo>
                      <a:pt x="408" y="480"/>
                    </a:lnTo>
                    <a:lnTo>
                      <a:pt x="408" y="492"/>
                    </a:lnTo>
                    <a:lnTo>
                      <a:pt x="390" y="510"/>
                    </a:lnTo>
                    <a:lnTo>
                      <a:pt x="390" y="534"/>
                    </a:lnTo>
                    <a:lnTo>
                      <a:pt x="384" y="540"/>
                    </a:lnTo>
                    <a:lnTo>
                      <a:pt x="378" y="540"/>
                    </a:lnTo>
                    <a:lnTo>
                      <a:pt x="366" y="552"/>
                    </a:lnTo>
                    <a:lnTo>
                      <a:pt x="366" y="576"/>
                    </a:lnTo>
                    <a:lnTo>
                      <a:pt x="372" y="588"/>
                    </a:lnTo>
                    <a:lnTo>
                      <a:pt x="372" y="618"/>
                    </a:lnTo>
                    <a:lnTo>
                      <a:pt x="366" y="630"/>
                    </a:lnTo>
                    <a:lnTo>
                      <a:pt x="366" y="642"/>
                    </a:lnTo>
                    <a:lnTo>
                      <a:pt x="372" y="648"/>
                    </a:lnTo>
                    <a:lnTo>
                      <a:pt x="384" y="648"/>
                    </a:lnTo>
                    <a:lnTo>
                      <a:pt x="384" y="672"/>
                    </a:lnTo>
                    <a:lnTo>
                      <a:pt x="390" y="684"/>
                    </a:lnTo>
                    <a:lnTo>
                      <a:pt x="402" y="690"/>
                    </a:lnTo>
                    <a:lnTo>
                      <a:pt x="408" y="702"/>
                    </a:lnTo>
                    <a:lnTo>
                      <a:pt x="408" y="708"/>
                    </a:lnTo>
                    <a:lnTo>
                      <a:pt x="402" y="720"/>
                    </a:lnTo>
                    <a:lnTo>
                      <a:pt x="372" y="750"/>
                    </a:lnTo>
                    <a:lnTo>
                      <a:pt x="366" y="750"/>
                    </a:lnTo>
                    <a:lnTo>
                      <a:pt x="390" y="762"/>
                    </a:lnTo>
                    <a:lnTo>
                      <a:pt x="402" y="774"/>
                    </a:lnTo>
                    <a:lnTo>
                      <a:pt x="414" y="774"/>
                    </a:lnTo>
                    <a:lnTo>
                      <a:pt x="414" y="798"/>
                    </a:lnTo>
                    <a:lnTo>
                      <a:pt x="420" y="804"/>
                    </a:lnTo>
                    <a:lnTo>
                      <a:pt x="420" y="822"/>
                    </a:lnTo>
                    <a:lnTo>
                      <a:pt x="426" y="828"/>
                    </a:lnTo>
                    <a:lnTo>
                      <a:pt x="426" y="846"/>
                    </a:lnTo>
                    <a:lnTo>
                      <a:pt x="432" y="858"/>
                    </a:lnTo>
                    <a:lnTo>
                      <a:pt x="432" y="876"/>
                    </a:lnTo>
                    <a:lnTo>
                      <a:pt x="444" y="888"/>
                    </a:lnTo>
                    <a:lnTo>
                      <a:pt x="450" y="900"/>
                    </a:lnTo>
                    <a:lnTo>
                      <a:pt x="450" y="906"/>
                    </a:lnTo>
                    <a:lnTo>
                      <a:pt x="462" y="918"/>
                    </a:lnTo>
                    <a:lnTo>
                      <a:pt x="468" y="918"/>
                    </a:lnTo>
                    <a:lnTo>
                      <a:pt x="480" y="924"/>
                    </a:lnTo>
                    <a:lnTo>
                      <a:pt x="486" y="924"/>
                    </a:lnTo>
                    <a:lnTo>
                      <a:pt x="498" y="918"/>
                    </a:lnTo>
                    <a:lnTo>
                      <a:pt x="504" y="912"/>
                    </a:lnTo>
                    <a:lnTo>
                      <a:pt x="516" y="906"/>
                    </a:lnTo>
                    <a:lnTo>
                      <a:pt x="522" y="900"/>
                    </a:lnTo>
                    <a:lnTo>
                      <a:pt x="528" y="906"/>
                    </a:lnTo>
                    <a:lnTo>
                      <a:pt x="528" y="930"/>
                    </a:lnTo>
                    <a:lnTo>
                      <a:pt x="534" y="930"/>
                    </a:lnTo>
                    <a:lnTo>
                      <a:pt x="546" y="918"/>
                    </a:lnTo>
                    <a:lnTo>
                      <a:pt x="558" y="894"/>
                    </a:lnTo>
                    <a:lnTo>
                      <a:pt x="570" y="882"/>
                    </a:lnTo>
                    <a:lnTo>
                      <a:pt x="588" y="882"/>
                    </a:lnTo>
                    <a:lnTo>
                      <a:pt x="594" y="876"/>
                    </a:lnTo>
                    <a:lnTo>
                      <a:pt x="630" y="858"/>
                    </a:lnTo>
                    <a:lnTo>
                      <a:pt x="636" y="846"/>
                    </a:lnTo>
                    <a:lnTo>
                      <a:pt x="636" y="816"/>
                    </a:lnTo>
                    <a:lnTo>
                      <a:pt x="678" y="816"/>
                    </a:lnTo>
                    <a:lnTo>
                      <a:pt x="684" y="810"/>
                    </a:lnTo>
                    <a:lnTo>
                      <a:pt x="690" y="798"/>
                    </a:lnTo>
                    <a:lnTo>
                      <a:pt x="690" y="792"/>
                    </a:lnTo>
                    <a:lnTo>
                      <a:pt x="684" y="786"/>
                    </a:lnTo>
                    <a:lnTo>
                      <a:pt x="636" y="780"/>
                    </a:lnTo>
                    <a:lnTo>
                      <a:pt x="636" y="750"/>
                    </a:lnTo>
                    <a:lnTo>
                      <a:pt x="630" y="738"/>
                    </a:lnTo>
                    <a:lnTo>
                      <a:pt x="618" y="726"/>
                    </a:lnTo>
                    <a:lnTo>
                      <a:pt x="624" y="720"/>
                    </a:lnTo>
                    <a:lnTo>
                      <a:pt x="624" y="690"/>
                    </a:lnTo>
                    <a:lnTo>
                      <a:pt x="618" y="684"/>
                    </a:lnTo>
                    <a:lnTo>
                      <a:pt x="606" y="678"/>
                    </a:lnTo>
                    <a:lnTo>
                      <a:pt x="588" y="660"/>
                    </a:lnTo>
                    <a:lnTo>
                      <a:pt x="588" y="630"/>
                    </a:lnTo>
                    <a:lnTo>
                      <a:pt x="594" y="636"/>
                    </a:lnTo>
                    <a:lnTo>
                      <a:pt x="594" y="642"/>
                    </a:lnTo>
                    <a:lnTo>
                      <a:pt x="636" y="642"/>
                    </a:lnTo>
                    <a:lnTo>
                      <a:pt x="642" y="648"/>
                    </a:lnTo>
                    <a:lnTo>
                      <a:pt x="642" y="666"/>
                    </a:lnTo>
                    <a:lnTo>
                      <a:pt x="654" y="666"/>
                    </a:lnTo>
                    <a:lnTo>
                      <a:pt x="666" y="660"/>
                    </a:lnTo>
                    <a:lnTo>
                      <a:pt x="678" y="666"/>
                    </a:lnTo>
                    <a:lnTo>
                      <a:pt x="684" y="660"/>
                    </a:lnTo>
                    <a:lnTo>
                      <a:pt x="696" y="660"/>
                    </a:lnTo>
                    <a:lnTo>
                      <a:pt x="702" y="666"/>
                    </a:lnTo>
                    <a:lnTo>
                      <a:pt x="708" y="678"/>
                    </a:lnTo>
                    <a:lnTo>
                      <a:pt x="720" y="690"/>
                    </a:lnTo>
                    <a:lnTo>
                      <a:pt x="732" y="696"/>
                    </a:lnTo>
                    <a:lnTo>
                      <a:pt x="738" y="690"/>
                    </a:lnTo>
                    <a:lnTo>
                      <a:pt x="738" y="672"/>
                    </a:lnTo>
                    <a:lnTo>
                      <a:pt x="744" y="660"/>
                    </a:lnTo>
                    <a:lnTo>
                      <a:pt x="744" y="648"/>
                    </a:lnTo>
                    <a:lnTo>
                      <a:pt x="750" y="642"/>
                    </a:lnTo>
                    <a:lnTo>
                      <a:pt x="768" y="642"/>
                    </a:lnTo>
                    <a:lnTo>
                      <a:pt x="774" y="648"/>
                    </a:lnTo>
                    <a:lnTo>
                      <a:pt x="792" y="648"/>
                    </a:lnTo>
                    <a:lnTo>
                      <a:pt x="804" y="642"/>
                    </a:lnTo>
                    <a:lnTo>
                      <a:pt x="828" y="618"/>
                    </a:lnTo>
                    <a:lnTo>
                      <a:pt x="840" y="612"/>
                    </a:lnTo>
                    <a:lnTo>
                      <a:pt x="864" y="612"/>
                    </a:lnTo>
                    <a:lnTo>
                      <a:pt x="864" y="600"/>
                    </a:lnTo>
                    <a:lnTo>
                      <a:pt x="876" y="600"/>
                    </a:lnTo>
                    <a:lnTo>
                      <a:pt x="882" y="594"/>
                    </a:lnTo>
                    <a:lnTo>
                      <a:pt x="882" y="558"/>
                    </a:lnTo>
                    <a:lnTo>
                      <a:pt x="846" y="522"/>
                    </a:lnTo>
                    <a:lnTo>
                      <a:pt x="840" y="510"/>
                    </a:lnTo>
                    <a:lnTo>
                      <a:pt x="834" y="504"/>
                    </a:lnTo>
                    <a:lnTo>
                      <a:pt x="834" y="492"/>
                    </a:lnTo>
                    <a:lnTo>
                      <a:pt x="846" y="486"/>
                    </a:lnTo>
                    <a:lnTo>
                      <a:pt x="852" y="486"/>
                    </a:lnTo>
                    <a:lnTo>
                      <a:pt x="864" y="480"/>
                    </a:lnTo>
                    <a:lnTo>
                      <a:pt x="864" y="462"/>
                    </a:lnTo>
                    <a:lnTo>
                      <a:pt x="846" y="444"/>
                    </a:lnTo>
                    <a:lnTo>
                      <a:pt x="846" y="438"/>
                    </a:lnTo>
                    <a:lnTo>
                      <a:pt x="876" y="438"/>
                    </a:lnTo>
                    <a:lnTo>
                      <a:pt x="888" y="432"/>
                    </a:lnTo>
                    <a:lnTo>
                      <a:pt x="900" y="432"/>
                    </a:lnTo>
                    <a:lnTo>
                      <a:pt x="912" y="426"/>
                    </a:lnTo>
                    <a:lnTo>
                      <a:pt x="918" y="420"/>
                    </a:lnTo>
                    <a:lnTo>
                      <a:pt x="918" y="402"/>
                    </a:lnTo>
                    <a:lnTo>
                      <a:pt x="894" y="402"/>
                    </a:lnTo>
                    <a:lnTo>
                      <a:pt x="894" y="360"/>
                    </a:lnTo>
                    <a:lnTo>
                      <a:pt x="906" y="348"/>
                    </a:lnTo>
                    <a:lnTo>
                      <a:pt x="918" y="348"/>
                    </a:lnTo>
                    <a:lnTo>
                      <a:pt x="924" y="342"/>
                    </a:lnTo>
                    <a:lnTo>
                      <a:pt x="930" y="342"/>
                    </a:lnTo>
                    <a:lnTo>
                      <a:pt x="936" y="336"/>
                    </a:lnTo>
                    <a:lnTo>
                      <a:pt x="954" y="300"/>
                    </a:lnTo>
                    <a:lnTo>
                      <a:pt x="948" y="294"/>
                    </a:lnTo>
                    <a:lnTo>
                      <a:pt x="942" y="282"/>
                    </a:lnTo>
                    <a:lnTo>
                      <a:pt x="936" y="27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" name="Uruguay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3359C59-7319-45E7-86D6-1B21EB9C4B5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25937" y="1814953"/>
                <a:ext cx="131560" cy="138632"/>
              </a:xfrm>
              <a:custGeom>
                <a:avLst/>
                <a:gdLst>
                  <a:gd name="T0" fmla="*/ 2147483647 w 366"/>
                  <a:gd name="T1" fmla="*/ 2147483647 h 384"/>
                  <a:gd name="T2" fmla="*/ 2147483647 w 366"/>
                  <a:gd name="T3" fmla="*/ 2147483647 h 384"/>
                  <a:gd name="T4" fmla="*/ 2147483647 w 366"/>
                  <a:gd name="T5" fmla="*/ 2147483647 h 384"/>
                  <a:gd name="T6" fmla="*/ 2147483647 w 366"/>
                  <a:gd name="T7" fmla="*/ 2147483647 h 384"/>
                  <a:gd name="T8" fmla="*/ 2147483647 w 366"/>
                  <a:gd name="T9" fmla="*/ 2147483647 h 384"/>
                  <a:gd name="T10" fmla="*/ 2147483647 w 366"/>
                  <a:gd name="T11" fmla="*/ 2147483647 h 384"/>
                  <a:gd name="T12" fmla="*/ 2147483647 w 366"/>
                  <a:gd name="T13" fmla="*/ 2147483647 h 384"/>
                  <a:gd name="T14" fmla="*/ 2147483647 w 366"/>
                  <a:gd name="T15" fmla="*/ 2147483647 h 384"/>
                  <a:gd name="T16" fmla="*/ 2147483647 w 366"/>
                  <a:gd name="T17" fmla="*/ 2147483647 h 384"/>
                  <a:gd name="T18" fmla="*/ 2147483647 w 366"/>
                  <a:gd name="T19" fmla="*/ 2147483647 h 384"/>
                  <a:gd name="T20" fmla="*/ 2147483647 w 366"/>
                  <a:gd name="T21" fmla="*/ 2147483647 h 384"/>
                  <a:gd name="T22" fmla="*/ 2147483647 w 366"/>
                  <a:gd name="T23" fmla="*/ 2147483647 h 384"/>
                  <a:gd name="T24" fmla="*/ 2147483647 w 366"/>
                  <a:gd name="T25" fmla="*/ 2147483647 h 384"/>
                  <a:gd name="T26" fmla="*/ 2147483647 w 366"/>
                  <a:gd name="T27" fmla="*/ 2147483647 h 384"/>
                  <a:gd name="T28" fmla="*/ 2147483647 w 366"/>
                  <a:gd name="T29" fmla="*/ 2147483647 h 384"/>
                  <a:gd name="T30" fmla="*/ 2147483647 w 366"/>
                  <a:gd name="T31" fmla="*/ 2147483647 h 384"/>
                  <a:gd name="T32" fmla="*/ 2147483647 w 366"/>
                  <a:gd name="T33" fmla="*/ 2147483647 h 384"/>
                  <a:gd name="T34" fmla="*/ 2147483647 w 366"/>
                  <a:gd name="T35" fmla="*/ 2147483647 h 384"/>
                  <a:gd name="T36" fmla="*/ 2147483647 w 366"/>
                  <a:gd name="T37" fmla="*/ 2147483647 h 384"/>
                  <a:gd name="T38" fmla="*/ 2147483647 w 366"/>
                  <a:gd name="T39" fmla="*/ 2147483647 h 384"/>
                  <a:gd name="T40" fmla="*/ 2147483647 w 366"/>
                  <a:gd name="T41" fmla="*/ 2147483647 h 384"/>
                  <a:gd name="T42" fmla="*/ 2147483647 w 366"/>
                  <a:gd name="T43" fmla="*/ 2147483647 h 384"/>
                  <a:gd name="T44" fmla="*/ 2147483647 w 366"/>
                  <a:gd name="T45" fmla="*/ 0 h 384"/>
                  <a:gd name="T46" fmla="*/ 2147483647 w 366"/>
                  <a:gd name="T47" fmla="*/ 2147483647 h 384"/>
                  <a:gd name="T48" fmla="*/ 2147483647 w 366"/>
                  <a:gd name="T49" fmla="*/ 2147483647 h 384"/>
                  <a:gd name="T50" fmla="*/ 0 w 366"/>
                  <a:gd name="T51" fmla="*/ 2147483647 h 384"/>
                  <a:gd name="T52" fmla="*/ 2147483647 w 366"/>
                  <a:gd name="T53" fmla="*/ 2147483647 h 384"/>
                  <a:gd name="T54" fmla="*/ 2147483647 w 366"/>
                  <a:gd name="T55" fmla="*/ 2147483647 h 384"/>
                  <a:gd name="T56" fmla="*/ 2147483647 w 366"/>
                  <a:gd name="T57" fmla="*/ 2147483647 h 384"/>
                  <a:gd name="T58" fmla="*/ 2147483647 w 366"/>
                  <a:gd name="T59" fmla="*/ 2147483647 h 384"/>
                  <a:gd name="T60" fmla="*/ 2147483647 w 366"/>
                  <a:gd name="T61" fmla="*/ 2147483647 h 384"/>
                  <a:gd name="T62" fmla="*/ 2147483647 w 366"/>
                  <a:gd name="T63" fmla="*/ 2147483647 h 384"/>
                  <a:gd name="T64" fmla="*/ 2147483647 w 366"/>
                  <a:gd name="T65" fmla="*/ 2147483647 h 384"/>
                  <a:gd name="T66" fmla="*/ 2147483647 w 366"/>
                  <a:gd name="T67" fmla="*/ 2147483647 h 384"/>
                  <a:gd name="T68" fmla="*/ 2147483647 w 366"/>
                  <a:gd name="T69" fmla="*/ 2147483647 h 384"/>
                  <a:gd name="T70" fmla="*/ 2147483647 w 366"/>
                  <a:gd name="T71" fmla="*/ 2147483647 h 384"/>
                  <a:gd name="T72" fmla="*/ 2147483647 w 366"/>
                  <a:gd name="T73" fmla="*/ 2147483647 h 384"/>
                  <a:gd name="T74" fmla="*/ 2147483647 w 366"/>
                  <a:gd name="T75" fmla="*/ 2147483647 h 384"/>
                  <a:gd name="T76" fmla="*/ 2147483647 w 366"/>
                  <a:gd name="T77" fmla="*/ 2147483647 h 384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366"/>
                  <a:gd name="T118" fmla="*/ 0 h 384"/>
                  <a:gd name="T119" fmla="*/ 366 w 366"/>
                  <a:gd name="T120" fmla="*/ 384 h 384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366" h="384">
                    <a:moveTo>
                      <a:pt x="138" y="372"/>
                    </a:moveTo>
                    <a:lnTo>
                      <a:pt x="174" y="372"/>
                    </a:lnTo>
                    <a:lnTo>
                      <a:pt x="198" y="378"/>
                    </a:lnTo>
                    <a:lnTo>
                      <a:pt x="228" y="378"/>
                    </a:lnTo>
                    <a:lnTo>
                      <a:pt x="288" y="384"/>
                    </a:lnTo>
                    <a:lnTo>
                      <a:pt x="330" y="366"/>
                    </a:lnTo>
                    <a:lnTo>
                      <a:pt x="342" y="354"/>
                    </a:lnTo>
                    <a:lnTo>
                      <a:pt x="360" y="300"/>
                    </a:lnTo>
                    <a:lnTo>
                      <a:pt x="366" y="294"/>
                    </a:lnTo>
                    <a:lnTo>
                      <a:pt x="348" y="294"/>
                    </a:lnTo>
                    <a:lnTo>
                      <a:pt x="348" y="264"/>
                    </a:lnTo>
                    <a:lnTo>
                      <a:pt x="342" y="264"/>
                    </a:lnTo>
                    <a:lnTo>
                      <a:pt x="342" y="240"/>
                    </a:lnTo>
                    <a:lnTo>
                      <a:pt x="348" y="234"/>
                    </a:lnTo>
                    <a:lnTo>
                      <a:pt x="360" y="210"/>
                    </a:lnTo>
                    <a:lnTo>
                      <a:pt x="360" y="198"/>
                    </a:lnTo>
                    <a:lnTo>
                      <a:pt x="354" y="198"/>
                    </a:lnTo>
                    <a:lnTo>
                      <a:pt x="342" y="192"/>
                    </a:lnTo>
                    <a:lnTo>
                      <a:pt x="336" y="192"/>
                    </a:lnTo>
                    <a:lnTo>
                      <a:pt x="318" y="174"/>
                    </a:lnTo>
                    <a:lnTo>
                      <a:pt x="312" y="162"/>
                    </a:lnTo>
                    <a:lnTo>
                      <a:pt x="306" y="156"/>
                    </a:lnTo>
                    <a:lnTo>
                      <a:pt x="300" y="144"/>
                    </a:lnTo>
                    <a:lnTo>
                      <a:pt x="288" y="144"/>
                    </a:lnTo>
                    <a:lnTo>
                      <a:pt x="270" y="138"/>
                    </a:lnTo>
                    <a:lnTo>
                      <a:pt x="258" y="132"/>
                    </a:lnTo>
                    <a:lnTo>
                      <a:pt x="252" y="126"/>
                    </a:lnTo>
                    <a:lnTo>
                      <a:pt x="252" y="114"/>
                    </a:lnTo>
                    <a:lnTo>
                      <a:pt x="246" y="114"/>
                    </a:lnTo>
                    <a:lnTo>
                      <a:pt x="228" y="96"/>
                    </a:lnTo>
                    <a:lnTo>
                      <a:pt x="210" y="96"/>
                    </a:lnTo>
                    <a:lnTo>
                      <a:pt x="192" y="78"/>
                    </a:lnTo>
                    <a:lnTo>
                      <a:pt x="186" y="66"/>
                    </a:lnTo>
                    <a:lnTo>
                      <a:pt x="174" y="60"/>
                    </a:lnTo>
                    <a:lnTo>
                      <a:pt x="168" y="60"/>
                    </a:lnTo>
                    <a:lnTo>
                      <a:pt x="156" y="72"/>
                    </a:lnTo>
                    <a:lnTo>
                      <a:pt x="156" y="78"/>
                    </a:lnTo>
                    <a:lnTo>
                      <a:pt x="144" y="78"/>
                    </a:lnTo>
                    <a:lnTo>
                      <a:pt x="144" y="66"/>
                    </a:lnTo>
                    <a:lnTo>
                      <a:pt x="132" y="54"/>
                    </a:lnTo>
                    <a:lnTo>
                      <a:pt x="126" y="42"/>
                    </a:lnTo>
                    <a:lnTo>
                      <a:pt x="120" y="36"/>
                    </a:lnTo>
                    <a:lnTo>
                      <a:pt x="108" y="30"/>
                    </a:lnTo>
                    <a:lnTo>
                      <a:pt x="102" y="18"/>
                    </a:lnTo>
                    <a:lnTo>
                      <a:pt x="78" y="6"/>
                    </a:lnTo>
                    <a:lnTo>
                      <a:pt x="72" y="0"/>
                    </a:lnTo>
                    <a:lnTo>
                      <a:pt x="60" y="0"/>
                    </a:lnTo>
                    <a:lnTo>
                      <a:pt x="48" y="6"/>
                    </a:lnTo>
                    <a:lnTo>
                      <a:pt x="42" y="12"/>
                    </a:lnTo>
                    <a:lnTo>
                      <a:pt x="18" y="1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24" y="60"/>
                    </a:lnTo>
                    <a:lnTo>
                      <a:pt x="30" y="60"/>
                    </a:lnTo>
                    <a:lnTo>
                      <a:pt x="6" y="72"/>
                    </a:lnTo>
                    <a:lnTo>
                      <a:pt x="6" y="108"/>
                    </a:lnTo>
                    <a:lnTo>
                      <a:pt x="30" y="126"/>
                    </a:lnTo>
                    <a:lnTo>
                      <a:pt x="12" y="126"/>
                    </a:lnTo>
                    <a:lnTo>
                      <a:pt x="0" y="138"/>
                    </a:lnTo>
                    <a:lnTo>
                      <a:pt x="6" y="144"/>
                    </a:lnTo>
                    <a:lnTo>
                      <a:pt x="12" y="156"/>
                    </a:lnTo>
                    <a:lnTo>
                      <a:pt x="24" y="168"/>
                    </a:lnTo>
                    <a:lnTo>
                      <a:pt x="12" y="186"/>
                    </a:lnTo>
                    <a:lnTo>
                      <a:pt x="18" y="192"/>
                    </a:lnTo>
                    <a:lnTo>
                      <a:pt x="24" y="204"/>
                    </a:lnTo>
                    <a:lnTo>
                      <a:pt x="36" y="210"/>
                    </a:lnTo>
                    <a:lnTo>
                      <a:pt x="42" y="222"/>
                    </a:lnTo>
                    <a:lnTo>
                      <a:pt x="42" y="228"/>
                    </a:lnTo>
                    <a:lnTo>
                      <a:pt x="36" y="228"/>
                    </a:lnTo>
                    <a:lnTo>
                      <a:pt x="30" y="234"/>
                    </a:lnTo>
                    <a:lnTo>
                      <a:pt x="6" y="234"/>
                    </a:lnTo>
                    <a:lnTo>
                      <a:pt x="6" y="282"/>
                    </a:lnTo>
                    <a:lnTo>
                      <a:pt x="36" y="318"/>
                    </a:lnTo>
                    <a:lnTo>
                      <a:pt x="42" y="318"/>
                    </a:lnTo>
                    <a:lnTo>
                      <a:pt x="54" y="324"/>
                    </a:lnTo>
                    <a:lnTo>
                      <a:pt x="78" y="348"/>
                    </a:lnTo>
                    <a:lnTo>
                      <a:pt x="90" y="354"/>
                    </a:lnTo>
                    <a:lnTo>
                      <a:pt x="126" y="354"/>
                    </a:lnTo>
                    <a:lnTo>
                      <a:pt x="138" y="37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5" name="Suriname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ED3F26D8-2E73-408F-8091-7992DE8EB8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53791" y="772380"/>
                <a:ext cx="104682" cy="120243"/>
              </a:xfrm>
              <a:custGeom>
                <a:avLst/>
                <a:gdLst>
                  <a:gd name="T0" fmla="*/ 2147483647 w 294"/>
                  <a:gd name="T1" fmla="*/ 2147483647 h 336"/>
                  <a:gd name="T2" fmla="*/ 2147483647 w 294"/>
                  <a:gd name="T3" fmla="*/ 2147483647 h 336"/>
                  <a:gd name="T4" fmla="*/ 2147483647 w 294"/>
                  <a:gd name="T5" fmla="*/ 2147483647 h 336"/>
                  <a:gd name="T6" fmla="*/ 0 w 294"/>
                  <a:gd name="T7" fmla="*/ 2147483647 h 336"/>
                  <a:gd name="T8" fmla="*/ 2147483647 w 294"/>
                  <a:gd name="T9" fmla="*/ 2147483647 h 336"/>
                  <a:gd name="T10" fmla="*/ 2147483647 w 294"/>
                  <a:gd name="T11" fmla="*/ 2147483647 h 336"/>
                  <a:gd name="T12" fmla="*/ 2147483647 w 294"/>
                  <a:gd name="T13" fmla="*/ 2147483647 h 336"/>
                  <a:gd name="T14" fmla="*/ 2147483647 w 294"/>
                  <a:gd name="T15" fmla="*/ 2147483647 h 336"/>
                  <a:gd name="T16" fmla="*/ 2147483647 w 294"/>
                  <a:gd name="T17" fmla="*/ 2147483647 h 336"/>
                  <a:gd name="T18" fmla="*/ 2147483647 w 294"/>
                  <a:gd name="T19" fmla="*/ 2147483647 h 336"/>
                  <a:gd name="T20" fmla="*/ 2147483647 w 294"/>
                  <a:gd name="T21" fmla="*/ 2147483647 h 336"/>
                  <a:gd name="T22" fmla="*/ 2147483647 w 294"/>
                  <a:gd name="T23" fmla="*/ 2147483647 h 336"/>
                  <a:gd name="T24" fmla="*/ 2147483647 w 294"/>
                  <a:gd name="T25" fmla="*/ 2147483647 h 336"/>
                  <a:gd name="T26" fmla="*/ 2147483647 w 294"/>
                  <a:gd name="T27" fmla="*/ 2147483647 h 336"/>
                  <a:gd name="T28" fmla="*/ 2147483647 w 294"/>
                  <a:gd name="T29" fmla="*/ 2147483647 h 336"/>
                  <a:gd name="T30" fmla="*/ 2147483647 w 294"/>
                  <a:gd name="T31" fmla="*/ 2147483647 h 336"/>
                  <a:gd name="T32" fmla="*/ 2147483647 w 294"/>
                  <a:gd name="T33" fmla="*/ 2147483647 h 336"/>
                  <a:gd name="T34" fmla="*/ 2147483647 w 294"/>
                  <a:gd name="T35" fmla="*/ 2147483647 h 336"/>
                  <a:gd name="T36" fmla="*/ 2147483647 w 294"/>
                  <a:gd name="T37" fmla="*/ 2147483647 h 336"/>
                  <a:gd name="T38" fmla="*/ 2147483647 w 294"/>
                  <a:gd name="T39" fmla="*/ 2147483647 h 336"/>
                  <a:gd name="T40" fmla="*/ 2147483647 w 294"/>
                  <a:gd name="T41" fmla="*/ 2147483647 h 336"/>
                  <a:gd name="T42" fmla="*/ 2147483647 w 294"/>
                  <a:gd name="T43" fmla="*/ 2147483647 h 336"/>
                  <a:gd name="T44" fmla="*/ 2147483647 w 294"/>
                  <a:gd name="T45" fmla="*/ 2147483647 h 336"/>
                  <a:gd name="T46" fmla="*/ 2147483647 w 294"/>
                  <a:gd name="T47" fmla="*/ 2147483647 h 336"/>
                  <a:gd name="T48" fmla="*/ 2147483647 w 294"/>
                  <a:gd name="T49" fmla="*/ 2147483647 h 336"/>
                  <a:gd name="T50" fmla="*/ 2147483647 w 294"/>
                  <a:gd name="T51" fmla="*/ 2147483647 h 336"/>
                  <a:gd name="T52" fmla="*/ 2147483647 w 294"/>
                  <a:gd name="T53" fmla="*/ 2147483647 h 336"/>
                  <a:gd name="T54" fmla="*/ 2147483647 w 294"/>
                  <a:gd name="T55" fmla="*/ 2147483647 h 336"/>
                  <a:gd name="T56" fmla="*/ 2147483647 w 294"/>
                  <a:gd name="T57" fmla="*/ 2147483647 h 336"/>
                  <a:gd name="T58" fmla="*/ 2147483647 w 294"/>
                  <a:gd name="T59" fmla="*/ 2147483647 h 336"/>
                  <a:gd name="T60" fmla="*/ 2147483647 w 294"/>
                  <a:gd name="T61" fmla="*/ 2147483647 h 336"/>
                  <a:gd name="T62" fmla="*/ 2147483647 w 294"/>
                  <a:gd name="T63" fmla="*/ 2147483647 h 336"/>
                  <a:gd name="T64" fmla="*/ 2147483647 w 294"/>
                  <a:gd name="T65" fmla="*/ 2147483647 h 336"/>
                  <a:gd name="T66" fmla="*/ 2147483647 w 294"/>
                  <a:gd name="T67" fmla="*/ 2147483647 h 336"/>
                  <a:gd name="T68" fmla="*/ 2147483647 w 294"/>
                  <a:gd name="T69" fmla="*/ 2147483647 h 336"/>
                  <a:gd name="T70" fmla="*/ 2147483647 w 294"/>
                  <a:gd name="T71" fmla="*/ 0 h 336"/>
                  <a:gd name="T72" fmla="*/ 2147483647 w 294"/>
                  <a:gd name="T73" fmla="*/ 2147483647 h 336"/>
                  <a:gd name="T74" fmla="*/ 2147483647 w 294"/>
                  <a:gd name="T75" fmla="*/ 2147483647 h 336"/>
                  <a:gd name="T76" fmla="*/ 2147483647 w 294"/>
                  <a:gd name="T77" fmla="*/ 2147483647 h 336"/>
                  <a:gd name="T78" fmla="*/ 2147483647 w 294"/>
                  <a:gd name="T79" fmla="*/ 2147483647 h 336"/>
                  <a:gd name="T80" fmla="*/ 2147483647 w 294"/>
                  <a:gd name="T81" fmla="*/ 2147483647 h 336"/>
                  <a:gd name="T82" fmla="*/ 2147483647 w 294"/>
                  <a:gd name="T83" fmla="*/ 2147483647 h 3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294"/>
                  <a:gd name="T127" fmla="*/ 0 h 336"/>
                  <a:gd name="T128" fmla="*/ 294 w 294"/>
                  <a:gd name="T129" fmla="*/ 336 h 3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294" h="336">
                    <a:moveTo>
                      <a:pt x="60" y="78"/>
                    </a:moveTo>
                    <a:lnTo>
                      <a:pt x="30" y="78"/>
                    </a:lnTo>
                    <a:lnTo>
                      <a:pt x="18" y="84"/>
                    </a:lnTo>
                    <a:lnTo>
                      <a:pt x="12" y="90"/>
                    </a:lnTo>
                    <a:lnTo>
                      <a:pt x="12" y="132"/>
                    </a:lnTo>
                    <a:lnTo>
                      <a:pt x="6" y="138"/>
                    </a:lnTo>
                    <a:lnTo>
                      <a:pt x="0" y="150"/>
                    </a:lnTo>
                    <a:lnTo>
                      <a:pt x="0" y="162"/>
                    </a:lnTo>
                    <a:lnTo>
                      <a:pt x="6" y="168"/>
                    </a:lnTo>
                    <a:lnTo>
                      <a:pt x="6" y="174"/>
                    </a:lnTo>
                    <a:lnTo>
                      <a:pt x="12" y="174"/>
                    </a:lnTo>
                    <a:lnTo>
                      <a:pt x="12" y="186"/>
                    </a:lnTo>
                    <a:lnTo>
                      <a:pt x="18" y="198"/>
                    </a:lnTo>
                    <a:lnTo>
                      <a:pt x="24" y="204"/>
                    </a:lnTo>
                    <a:lnTo>
                      <a:pt x="30" y="216"/>
                    </a:lnTo>
                    <a:lnTo>
                      <a:pt x="42" y="216"/>
                    </a:lnTo>
                    <a:lnTo>
                      <a:pt x="42" y="210"/>
                    </a:lnTo>
                    <a:lnTo>
                      <a:pt x="54" y="198"/>
                    </a:lnTo>
                    <a:lnTo>
                      <a:pt x="54" y="216"/>
                    </a:lnTo>
                    <a:lnTo>
                      <a:pt x="48" y="222"/>
                    </a:lnTo>
                    <a:lnTo>
                      <a:pt x="48" y="246"/>
                    </a:lnTo>
                    <a:lnTo>
                      <a:pt x="54" y="258"/>
                    </a:lnTo>
                    <a:lnTo>
                      <a:pt x="72" y="276"/>
                    </a:lnTo>
                    <a:lnTo>
                      <a:pt x="78" y="294"/>
                    </a:lnTo>
                    <a:lnTo>
                      <a:pt x="84" y="306"/>
                    </a:lnTo>
                    <a:lnTo>
                      <a:pt x="90" y="312"/>
                    </a:lnTo>
                    <a:lnTo>
                      <a:pt x="90" y="318"/>
                    </a:lnTo>
                    <a:lnTo>
                      <a:pt x="102" y="324"/>
                    </a:lnTo>
                    <a:lnTo>
                      <a:pt x="108" y="324"/>
                    </a:lnTo>
                    <a:lnTo>
                      <a:pt x="132" y="336"/>
                    </a:lnTo>
                    <a:lnTo>
                      <a:pt x="150" y="336"/>
                    </a:lnTo>
                    <a:lnTo>
                      <a:pt x="156" y="330"/>
                    </a:lnTo>
                    <a:lnTo>
                      <a:pt x="150" y="324"/>
                    </a:lnTo>
                    <a:lnTo>
                      <a:pt x="150" y="318"/>
                    </a:lnTo>
                    <a:lnTo>
                      <a:pt x="138" y="306"/>
                    </a:lnTo>
                    <a:lnTo>
                      <a:pt x="138" y="282"/>
                    </a:lnTo>
                    <a:lnTo>
                      <a:pt x="150" y="276"/>
                    </a:lnTo>
                    <a:lnTo>
                      <a:pt x="156" y="276"/>
                    </a:lnTo>
                    <a:lnTo>
                      <a:pt x="156" y="288"/>
                    </a:lnTo>
                    <a:lnTo>
                      <a:pt x="180" y="288"/>
                    </a:lnTo>
                    <a:lnTo>
                      <a:pt x="192" y="282"/>
                    </a:lnTo>
                    <a:lnTo>
                      <a:pt x="198" y="276"/>
                    </a:lnTo>
                    <a:lnTo>
                      <a:pt x="210" y="270"/>
                    </a:lnTo>
                    <a:lnTo>
                      <a:pt x="216" y="270"/>
                    </a:lnTo>
                    <a:lnTo>
                      <a:pt x="222" y="282"/>
                    </a:lnTo>
                    <a:lnTo>
                      <a:pt x="228" y="288"/>
                    </a:lnTo>
                    <a:lnTo>
                      <a:pt x="246" y="294"/>
                    </a:lnTo>
                    <a:lnTo>
                      <a:pt x="252" y="282"/>
                    </a:lnTo>
                    <a:lnTo>
                      <a:pt x="258" y="276"/>
                    </a:lnTo>
                    <a:lnTo>
                      <a:pt x="258" y="264"/>
                    </a:lnTo>
                    <a:lnTo>
                      <a:pt x="264" y="264"/>
                    </a:lnTo>
                    <a:lnTo>
                      <a:pt x="276" y="258"/>
                    </a:lnTo>
                    <a:lnTo>
                      <a:pt x="270" y="222"/>
                    </a:lnTo>
                    <a:lnTo>
                      <a:pt x="288" y="204"/>
                    </a:lnTo>
                    <a:lnTo>
                      <a:pt x="288" y="198"/>
                    </a:lnTo>
                    <a:lnTo>
                      <a:pt x="282" y="186"/>
                    </a:lnTo>
                    <a:lnTo>
                      <a:pt x="264" y="168"/>
                    </a:lnTo>
                    <a:lnTo>
                      <a:pt x="258" y="156"/>
                    </a:lnTo>
                    <a:lnTo>
                      <a:pt x="258" y="144"/>
                    </a:lnTo>
                    <a:lnTo>
                      <a:pt x="252" y="126"/>
                    </a:lnTo>
                    <a:lnTo>
                      <a:pt x="252" y="96"/>
                    </a:lnTo>
                    <a:lnTo>
                      <a:pt x="258" y="78"/>
                    </a:lnTo>
                    <a:lnTo>
                      <a:pt x="264" y="66"/>
                    </a:lnTo>
                    <a:lnTo>
                      <a:pt x="276" y="60"/>
                    </a:lnTo>
                    <a:lnTo>
                      <a:pt x="282" y="54"/>
                    </a:lnTo>
                    <a:lnTo>
                      <a:pt x="288" y="54"/>
                    </a:lnTo>
                    <a:lnTo>
                      <a:pt x="288" y="30"/>
                    </a:lnTo>
                    <a:lnTo>
                      <a:pt x="294" y="12"/>
                    </a:lnTo>
                    <a:lnTo>
                      <a:pt x="288" y="12"/>
                    </a:lnTo>
                    <a:lnTo>
                      <a:pt x="282" y="6"/>
                    </a:lnTo>
                    <a:lnTo>
                      <a:pt x="270" y="6"/>
                    </a:lnTo>
                    <a:lnTo>
                      <a:pt x="252" y="0"/>
                    </a:lnTo>
                    <a:lnTo>
                      <a:pt x="210" y="0"/>
                    </a:lnTo>
                    <a:lnTo>
                      <a:pt x="204" y="12"/>
                    </a:lnTo>
                    <a:lnTo>
                      <a:pt x="156" y="6"/>
                    </a:lnTo>
                    <a:lnTo>
                      <a:pt x="156" y="18"/>
                    </a:lnTo>
                    <a:lnTo>
                      <a:pt x="96" y="0"/>
                    </a:lnTo>
                    <a:lnTo>
                      <a:pt x="72" y="6"/>
                    </a:lnTo>
                    <a:lnTo>
                      <a:pt x="66" y="18"/>
                    </a:lnTo>
                    <a:lnTo>
                      <a:pt x="60" y="24"/>
                    </a:lnTo>
                    <a:lnTo>
                      <a:pt x="54" y="36"/>
                    </a:lnTo>
                    <a:lnTo>
                      <a:pt x="54" y="48"/>
                    </a:lnTo>
                    <a:lnTo>
                      <a:pt x="66" y="60"/>
                    </a:lnTo>
                    <a:lnTo>
                      <a:pt x="66" y="72"/>
                    </a:lnTo>
                    <a:lnTo>
                      <a:pt x="60" y="78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6" name="Puerto Rico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6715F53E-11E8-4CFD-B4A7-E3E03BC3730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50086" y="413068"/>
                <a:ext cx="49512" cy="21220"/>
              </a:xfrm>
              <a:custGeom>
                <a:avLst/>
                <a:gdLst>
                  <a:gd name="T0" fmla="*/ 2147483647 w 138"/>
                  <a:gd name="T1" fmla="*/ 2147483647 h 60"/>
                  <a:gd name="T2" fmla="*/ 2147483647 w 138"/>
                  <a:gd name="T3" fmla="*/ 2147483647 h 60"/>
                  <a:gd name="T4" fmla="*/ 2147483647 w 138"/>
                  <a:gd name="T5" fmla="*/ 0 h 60"/>
                  <a:gd name="T6" fmla="*/ 2147483647 w 138"/>
                  <a:gd name="T7" fmla="*/ 0 h 60"/>
                  <a:gd name="T8" fmla="*/ 2147483647 w 138"/>
                  <a:gd name="T9" fmla="*/ 2147483647 h 60"/>
                  <a:gd name="T10" fmla="*/ 0 w 138"/>
                  <a:gd name="T11" fmla="*/ 2147483647 h 60"/>
                  <a:gd name="T12" fmla="*/ 0 w 138"/>
                  <a:gd name="T13" fmla="*/ 2147483647 h 60"/>
                  <a:gd name="T14" fmla="*/ 2147483647 w 138"/>
                  <a:gd name="T15" fmla="*/ 2147483647 h 60"/>
                  <a:gd name="T16" fmla="*/ 2147483647 w 138"/>
                  <a:gd name="T17" fmla="*/ 2147483647 h 60"/>
                  <a:gd name="T18" fmla="*/ 2147483647 w 138"/>
                  <a:gd name="T19" fmla="*/ 2147483647 h 60"/>
                  <a:gd name="T20" fmla="*/ 2147483647 w 138"/>
                  <a:gd name="T21" fmla="*/ 2147483647 h 60"/>
                  <a:gd name="T22" fmla="*/ 2147483647 w 138"/>
                  <a:gd name="T23" fmla="*/ 2147483647 h 60"/>
                  <a:gd name="T24" fmla="*/ 2147483647 w 138"/>
                  <a:gd name="T25" fmla="*/ 2147483647 h 60"/>
                  <a:gd name="T26" fmla="*/ 2147483647 w 138"/>
                  <a:gd name="T27" fmla="*/ 2147483647 h 60"/>
                  <a:gd name="T28" fmla="*/ 2147483647 w 138"/>
                  <a:gd name="T29" fmla="*/ 2147483647 h 60"/>
                  <a:gd name="T30" fmla="*/ 2147483647 w 138"/>
                  <a:gd name="T31" fmla="*/ 2147483647 h 60"/>
                  <a:gd name="T32" fmla="*/ 2147483647 w 138"/>
                  <a:gd name="T33" fmla="*/ 2147483647 h 60"/>
                  <a:gd name="T34" fmla="*/ 2147483647 w 138"/>
                  <a:gd name="T35" fmla="*/ 2147483647 h 60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38"/>
                  <a:gd name="T55" fmla="*/ 0 h 60"/>
                  <a:gd name="T56" fmla="*/ 138 w 138"/>
                  <a:gd name="T57" fmla="*/ 60 h 60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38" h="60">
                    <a:moveTo>
                      <a:pt x="84" y="12"/>
                    </a:moveTo>
                    <a:lnTo>
                      <a:pt x="72" y="12"/>
                    </a:lnTo>
                    <a:lnTo>
                      <a:pt x="36" y="0"/>
                    </a:lnTo>
                    <a:lnTo>
                      <a:pt x="12" y="0"/>
                    </a:lnTo>
                    <a:lnTo>
                      <a:pt x="6" y="12"/>
                    </a:lnTo>
                    <a:lnTo>
                      <a:pt x="0" y="18"/>
                    </a:lnTo>
                    <a:lnTo>
                      <a:pt x="0" y="48"/>
                    </a:lnTo>
                    <a:lnTo>
                      <a:pt x="36" y="60"/>
                    </a:lnTo>
                    <a:lnTo>
                      <a:pt x="48" y="48"/>
                    </a:lnTo>
                    <a:lnTo>
                      <a:pt x="102" y="48"/>
                    </a:lnTo>
                    <a:lnTo>
                      <a:pt x="120" y="36"/>
                    </a:lnTo>
                    <a:lnTo>
                      <a:pt x="132" y="30"/>
                    </a:lnTo>
                    <a:lnTo>
                      <a:pt x="138" y="18"/>
                    </a:lnTo>
                    <a:lnTo>
                      <a:pt x="138" y="12"/>
                    </a:lnTo>
                    <a:lnTo>
                      <a:pt x="132" y="6"/>
                    </a:lnTo>
                    <a:lnTo>
                      <a:pt x="114" y="6"/>
                    </a:lnTo>
                    <a:lnTo>
                      <a:pt x="102" y="12"/>
                    </a:lnTo>
                    <a:lnTo>
                      <a:pt x="84" y="1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7" name="Peru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7479BDB0-5A53-42B9-93CF-AB9B3A4F2E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59651" y="943549"/>
                <a:ext cx="338094" cy="533311"/>
              </a:xfrm>
              <a:custGeom>
                <a:avLst/>
                <a:gdLst>
                  <a:gd name="T0" fmla="*/ 2147483647 w 942"/>
                  <a:gd name="T1" fmla="*/ 2147483647 h 1488"/>
                  <a:gd name="T2" fmla="*/ 2147483647 w 942"/>
                  <a:gd name="T3" fmla="*/ 2147483647 h 1488"/>
                  <a:gd name="T4" fmla="*/ 2147483647 w 942"/>
                  <a:gd name="T5" fmla="*/ 2147483647 h 1488"/>
                  <a:gd name="T6" fmla="*/ 2147483647 w 942"/>
                  <a:gd name="T7" fmla="*/ 2147483647 h 1488"/>
                  <a:gd name="T8" fmla="*/ 2147483647 w 942"/>
                  <a:gd name="T9" fmla="*/ 2147483647 h 1488"/>
                  <a:gd name="T10" fmla="*/ 2147483647 w 942"/>
                  <a:gd name="T11" fmla="*/ 2147483647 h 1488"/>
                  <a:gd name="T12" fmla="*/ 2147483647 w 942"/>
                  <a:gd name="T13" fmla="*/ 2147483647 h 1488"/>
                  <a:gd name="T14" fmla="*/ 2147483647 w 942"/>
                  <a:gd name="T15" fmla="*/ 2147483647 h 1488"/>
                  <a:gd name="T16" fmla="*/ 2147483647 w 942"/>
                  <a:gd name="T17" fmla="*/ 2147483647 h 1488"/>
                  <a:gd name="T18" fmla="*/ 2147483647 w 942"/>
                  <a:gd name="T19" fmla="*/ 2147483647 h 1488"/>
                  <a:gd name="T20" fmla="*/ 2147483647 w 942"/>
                  <a:gd name="T21" fmla="*/ 2147483647 h 1488"/>
                  <a:gd name="T22" fmla="*/ 2147483647 w 942"/>
                  <a:gd name="T23" fmla="*/ 2147483647 h 1488"/>
                  <a:gd name="T24" fmla="*/ 2147483647 w 942"/>
                  <a:gd name="T25" fmla="*/ 2147483647 h 1488"/>
                  <a:gd name="T26" fmla="*/ 2147483647 w 942"/>
                  <a:gd name="T27" fmla="*/ 2147483647 h 1488"/>
                  <a:gd name="T28" fmla="*/ 2147483647 w 942"/>
                  <a:gd name="T29" fmla="*/ 2147483647 h 1488"/>
                  <a:gd name="T30" fmla="*/ 2147483647 w 942"/>
                  <a:gd name="T31" fmla="*/ 2147483647 h 1488"/>
                  <a:gd name="T32" fmla="*/ 2147483647 w 942"/>
                  <a:gd name="T33" fmla="*/ 2147483647 h 1488"/>
                  <a:gd name="T34" fmla="*/ 2147483647 w 942"/>
                  <a:gd name="T35" fmla="*/ 2147483647 h 1488"/>
                  <a:gd name="T36" fmla="*/ 2147483647 w 942"/>
                  <a:gd name="T37" fmla="*/ 2147483647 h 1488"/>
                  <a:gd name="T38" fmla="*/ 2147483647 w 942"/>
                  <a:gd name="T39" fmla="*/ 2147483647 h 1488"/>
                  <a:gd name="T40" fmla="*/ 2147483647 w 942"/>
                  <a:gd name="T41" fmla="*/ 2147483647 h 1488"/>
                  <a:gd name="T42" fmla="*/ 2147483647 w 942"/>
                  <a:gd name="T43" fmla="*/ 2147483647 h 1488"/>
                  <a:gd name="T44" fmla="*/ 2147483647 w 942"/>
                  <a:gd name="T45" fmla="*/ 2147483647 h 1488"/>
                  <a:gd name="T46" fmla="*/ 2147483647 w 942"/>
                  <a:gd name="T47" fmla="*/ 2147483647 h 1488"/>
                  <a:gd name="T48" fmla="*/ 2147483647 w 942"/>
                  <a:gd name="T49" fmla="*/ 2147483647 h 1488"/>
                  <a:gd name="T50" fmla="*/ 2147483647 w 942"/>
                  <a:gd name="T51" fmla="*/ 2147483647 h 1488"/>
                  <a:gd name="T52" fmla="*/ 2147483647 w 942"/>
                  <a:gd name="T53" fmla="*/ 2147483647 h 1488"/>
                  <a:gd name="T54" fmla="*/ 2147483647 w 942"/>
                  <a:gd name="T55" fmla="*/ 2147483647 h 1488"/>
                  <a:gd name="T56" fmla="*/ 2147483647 w 942"/>
                  <a:gd name="T57" fmla="*/ 2147483647 h 1488"/>
                  <a:gd name="T58" fmla="*/ 2147483647 w 942"/>
                  <a:gd name="T59" fmla="*/ 2147483647 h 1488"/>
                  <a:gd name="T60" fmla="*/ 2147483647 w 942"/>
                  <a:gd name="T61" fmla="*/ 2147483647 h 1488"/>
                  <a:gd name="T62" fmla="*/ 2147483647 w 942"/>
                  <a:gd name="T63" fmla="*/ 0 h 1488"/>
                  <a:gd name="T64" fmla="*/ 2147483647 w 942"/>
                  <a:gd name="T65" fmla="*/ 2147483647 h 1488"/>
                  <a:gd name="T66" fmla="*/ 2147483647 w 942"/>
                  <a:gd name="T67" fmla="*/ 2147483647 h 1488"/>
                  <a:gd name="T68" fmla="*/ 2147483647 w 942"/>
                  <a:gd name="T69" fmla="*/ 2147483647 h 1488"/>
                  <a:gd name="T70" fmla="*/ 2147483647 w 942"/>
                  <a:gd name="T71" fmla="*/ 2147483647 h 1488"/>
                  <a:gd name="T72" fmla="*/ 2147483647 w 942"/>
                  <a:gd name="T73" fmla="*/ 2147483647 h 1488"/>
                  <a:gd name="T74" fmla="*/ 2147483647 w 942"/>
                  <a:gd name="T75" fmla="*/ 2147483647 h 1488"/>
                  <a:gd name="T76" fmla="*/ 2147483647 w 942"/>
                  <a:gd name="T77" fmla="*/ 2147483647 h 1488"/>
                  <a:gd name="T78" fmla="*/ 2147483647 w 942"/>
                  <a:gd name="T79" fmla="*/ 2147483647 h 1488"/>
                  <a:gd name="T80" fmla="*/ 2147483647 w 942"/>
                  <a:gd name="T81" fmla="*/ 2147483647 h 1488"/>
                  <a:gd name="T82" fmla="*/ 2147483647 w 942"/>
                  <a:gd name="T83" fmla="*/ 2147483647 h 1488"/>
                  <a:gd name="T84" fmla="*/ 0 w 942"/>
                  <a:gd name="T85" fmla="*/ 2147483647 h 1488"/>
                  <a:gd name="T86" fmla="*/ 2147483647 w 942"/>
                  <a:gd name="T87" fmla="*/ 2147483647 h 1488"/>
                  <a:gd name="T88" fmla="*/ 2147483647 w 942"/>
                  <a:gd name="T89" fmla="*/ 2147483647 h 1488"/>
                  <a:gd name="T90" fmla="*/ 2147483647 w 942"/>
                  <a:gd name="T91" fmla="*/ 2147483647 h 1488"/>
                  <a:gd name="T92" fmla="*/ 2147483647 w 942"/>
                  <a:gd name="T93" fmla="*/ 2147483647 h 1488"/>
                  <a:gd name="T94" fmla="*/ 2147483647 w 942"/>
                  <a:gd name="T95" fmla="*/ 2147483647 h 1488"/>
                  <a:gd name="T96" fmla="*/ 2147483647 w 942"/>
                  <a:gd name="T97" fmla="*/ 2147483647 h 1488"/>
                  <a:gd name="T98" fmla="*/ 2147483647 w 942"/>
                  <a:gd name="T99" fmla="*/ 2147483647 h 1488"/>
                  <a:gd name="T100" fmla="*/ 2147483647 w 942"/>
                  <a:gd name="T101" fmla="*/ 2147483647 h 1488"/>
                  <a:gd name="T102" fmla="*/ 2147483647 w 942"/>
                  <a:gd name="T103" fmla="*/ 2147483647 h 1488"/>
                  <a:gd name="T104" fmla="*/ 2147483647 w 942"/>
                  <a:gd name="T105" fmla="*/ 2147483647 h 1488"/>
                  <a:gd name="T106" fmla="*/ 2147483647 w 942"/>
                  <a:gd name="T107" fmla="*/ 2147483647 h 1488"/>
                  <a:gd name="T108" fmla="*/ 2147483647 w 942"/>
                  <a:gd name="T109" fmla="*/ 2147483647 h 1488"/>
                  <a:gd name="T110" fmla="*/ 2147483647 w 942"/>
                  <a:gd name="T111" fmla="*/ 2147483647 h 1488"/>
                  <a:gd name="T112" fmla="*/ 2147483647 w 942"/>
                  <a:gd name="T113" fmla="*/ 2147483647 h 1488"/>
                  <a:gd name="T114" fmla="*/ 2147483647 w 942"/>
                  <a:gd name="T115" fmla="*/ 2147483647 h 1488"/>
                  <a:gd name="T116" fmla="*/ 2147483647 w 942"/>
                  <a:gd name="T117" fmla="*/ 2147483647 h 1488"/>
                  <a:gd name="T118" fmla="*/ 2147483647 w 942"/>
                  <a:gd name="T119" fmla="*/ 2147483647 h 1488"/>
                  <a:gd name="T120" fmla="*/ 2147483647 w 942"/>
                  <a:gd name="T121" fmla="*/ 2147483647 h 148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942"/>
                  <a:gd name="T184" fmla="*/ 0 h 1488"/>
                  <a:gd name="T185" fmla="*/ 942 w 942"/>
                  <a:gd name="T186" fmla="*/ 1488 h 148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942" h="1488">
                    <a:moveTo>
                      <a:pt x="930" y="1320"/>
                    </a:moveTo>
                    <a:lnTo>
                      <a:pt x="924" y="1314"/>
                    </a:lnTo>
                    <a:lnTo>
                      <a:pt x="912" y="1308"/>
                    </a:lnTo>
                    <a:lnTo>
                      <a:pt x="888" y="1284"/>
                    </a:lnTo>
                    <a:lnTo>
                      <a:pt x="864" y="1284"/>
                    </a:lnTo>
                    <a:lnTo>
                      <a:pt x="858" y="1278"/>
                    </a:lnTo>
                    <a:lnTo>
                      <a:pt x="870" y="1260"/>
                    </a:lnTo>
                    <a:lnTo>
                      <a:pt x="870" y="1230"/>
                    </a:lnTo>
                    <a:lnTo>
                      <a:pt x="882" y="1230"/>
                    </a:lnTo>
                    <a:lnTo>
                      <a:pt x="906" y="1254"/>
                    </a:lnTo>
                    <a:lnTo>
                      <a:pt x="918" y="1236"/>
                    </a:lnTo>
                    <a:lnTo>
                      <a:pt x="918" y="1230"/>
                    </a:lnTo>
                    <a:lnTo>
                      <a:pt x="912" y="1224"/>
                    </a:lnTo>
                    <a:lnTo>
                      <a:pt x="906" y="1212"/>
                    </a:lnTo>
                    <a:lnTo>
                      <a:pt x="900" y="1194"/>
                    </a:lnTo>
                    <a:lnTo>
                      <a:pt x="912" y="1170"/>
                    </a:lnTo>
                    <a:lnTo>
                      <a:pt x="924" y="1158"/>
                    </a:lnTo>
                    <a:lnTo>
                      <a:pt x="930" y="1146"/>
                    </a:lnTo>
                    <a:lnTo>
                      <a:pt x="930" y="1140"/>
                    </a:lnTo>
                    <a:lnTo>
                      <a:pt x="924" y="1128"/>
                    </a:lnTo>
                    <a:lnTo>
                      <a:pt x="912" y="1116"/>
                    </a:lnTo>
                    <a:lnTo>
                      <a:pt x="906" y="1116"/>
                    </a:lnTo>
                    <a:lnTo>
                      <a:pt x="924" y="1086"/>
                    </a:lnTo>
                    <a:lnTo>
                      <a:pt x="912" y="1038"/>
                    </a:lnTo>
                    <a:lnTo>
                      <a:pt x="918" y="1032"/>
                    </a:lnTo>
                    <a:lnTo>
                      <a:pt x="924" y="1020"/>
                    </a:lnTo>
                    <a:lnTo>
                      <a:pt x="930" y="1014"/>
                    </a:lnTo>
                    <a:lnTo>
                      <a:pt x="930" y="1002"/>
                    </a:lnTo>
                    <a:lnTo>
                      <a:pt x="918" y="978"/>
                    </a:lnTo>
                    <a:lnTo>
                      <a:pt x="906" y="960"/>
                    </a:lnTo>
                    <a:lnTo>
                      <a:pt x="894" y="948"/>
                    </a:lnTo>
                    <a:lnTo>
                      <a:pt x="882" y="930"/>
                    </a:lnTo>
                    <a:lnTo>
                      <a:pt x="870" y="918"/>
                    </a:lnTo>
                    <a:lnTo>
                      <a:pt x="864" y="900"/>
                    </a:lnTo>
                    <a:lnTo>
                      <a:pt x="864" y="882"/>
                    </a:lnTo>
                    <a:lnTo>
                      <a:pt x="828" y="882"/>
                    </a:lnTo>
                    <a:lnTo>
                      <a:pt x="822" y="888"/>
                    </a:lnTo>
                    <a:lnTo>
                      <a:pt x="816" y="888"/>
                    </a:lnTo>
                    <a:lnTo>
                      <a:pt x="816" y="894"/>
                    </a:lnTo>
                    <a:lnTo>
                      <a:pt x="804" y="894"/>
                    </a:lnTo>
                    <a:lnTo>
                      <a:pt x="798" y="888"/>
                    </a:lnTo>
                    <a:lnTo>
                      <a:pt x="798" y="882"/>
                    </a:lnTo>
                    <a:lnTo>
                      <a:pt x="786" y="888"/>
                    </a:lnTo>
                    <a:lnTo>
                      <a:pt x="786" y="858"/>
                    </a:lnTo>
                    <a:lnTo>
                      <a:pt x="780" y="840"/>
                    </a:lnTo>
                    <a:lnTo>
                      <a:pt x="780" y="828"/>
                    </a:lnTo>
                    <a:lnTo>
                      <a:pt x="786" y="816"/>
                    </a:lnTo>
                    <a:lnTo>
                      <a:pt x="786" y="804"/>
                    </a:lnTo>
                    <a:lnTo>
                      <a:pt x="792" y="798"/>
                    </a:lnTo>
                    <a:lnTo>
                      <a:pt x="792" y="780"/>
                    </a:lnTo>
                    <a:lnTo>
                      <a:pt x="786" y="768"/>
                    </a:lnTo>
                    <a:lnTo>
                      <a:pt x="786" y="756"/>
                    </a:lnTo>
                    <a:lnTo>
                      <a:pt x="732" y="804"/>
                    </a:lnTo>
                    <a:lnTo>
                      <a:pt x="672" y="810"/>
                    </a:lnTo>
                    <a:lnTo>
                      <a:pt x="672" y="804"/>
                    </a:lnTo>
                    <a:lnTo>
                      <a:pt x="666" y="798"/>
                    </a:lnTo>
                    <a:lnTo>
                      <a:pt x="660" y="786"/>
                    </a:lnTo>
                    <a:lnTo>
                      <a:pt x="660" y="774"/>
                    </a:lnTo>
                    <a:lnTo>
                      <a:pt x="654" y="768"/>
                    </a:lnTo>
                    <a:lnTo>
                      <a:pt x="648" y="768"/>
                    </a:lnTo>
                    <a:lnTo>
                      <a:pt x="636" y="762"/>
                    </a:lnTo>
                    <a:lnTo>
                      <a:pt x="594" y="762"/>
                    </a:lnTo>
                    <a:lnTo>
                      <a:pt x="600" y="756"/>
                    </a:lnTo>
                    <a:lnTo>
                      <a:pt x="612" y="750"/>
                    </a:lnTo>
                    <a:lnTo>
                      <a:pt x="618" y="738"/>
                    </a:lnTo>
                    <a:lnTo>
                      <a:pt x="624" y="732"/>
                    </a:lnTo>
                    <a:lnTo>
                      <a:pt x="600" y="708"/>
                    </a:lnTo>
                    <a:lnTo>
                      <a:pt x="588" y="702"/>
                    </a:lnTo>
                    <a:lnTo>
                      <a:pt x="576" y="690"/>
                    </a:lnTo>
                    <a:lnTo>
                      <a:pt x="564" y="666"/>
                    </a:lnTo>
                    <a:lnTo>
                      <a:pt x="558" y="660"/>
                    </a:lnTo>
                    <a:lnTo>
                      <a:pt x="558" y="654"/>
                    </a:lnTo>
                    <a:lnTo>
                      <a:pt x="552" y="630"/>
                    </a:lnTo>
                    <a:lnTo>
                      <a:pt x="540" y="624"/>
                    </a:lnTo>
                    <a:lnTo>
                      <a:pt x="534" y="618"/>
                    </a:lnTo>
                    <a:lnTo>
                      <a:pt x="534" y="606"/>
                    </a:lnTo>
                    <a:lnTo>
                      <a:pt x="540" y="600"/>
                    </a:lnTo>
                    <a:lnTo>
                      <a:pt x="552" y="594"/>
                    </a:lnTo>
                    <a:lnTo>
                      <a:pt x="546" y="588"/>
                    </a:lnTo>
                    <a:lnTo>
                      <a:pt x="546" y="564"/>
                    </a:lnTo>
                    <a:lnTo>
                      <a:pt x="552" y="552"/>
                    </a:lnTo>
                    <a:lnTo>
                      <a:pt x="582" y="522"/>
                    </a:lnTo>
                    <a:lnTo>
                      <a:pt x="588" y="528"/>
                    </a:lnTo>
                    <a:lnTo>
                      <a:pt x="594" y="528"/>
                    </a:lnTo>
                    <a:lnTo>
                      <a:pt x="588" y="522"/>
                    </a:lnTo>
                    <a:lnTo>
                      <a:pt x="588" y="504"/>
                    </a:lnTo>
                    <a:lnTo>
                      <a:pt x="582" y="498"/>
                    </a:lnTo>
                    <a:lnTo>
                      <a:pt x="582" y="486"/>
                    </a:lnTo>
                    <a:lnTo>
                      <a:pt x="600" y="468"/>
                    </a:lnTo>
                    <a:lnTo>
                      <a:pt x="600" y="414"/>
                    </a:lnTo>
                    <a:lnTo>
                      <a:pt x="624" y="414"/>
                    </a:lnTo>
                    <a:lnTo>
                      <a:pt x="624" y="408"/>
                    </a:lnTo>
                    <a:lnTo>
                      <a:pt x="630" y="402"/>
                    </a:lnTo>
                    <a:lnTo>
                      <a:pt x="630" y="396"/>
                    </a:lnTo>
                    <a:lnTo>
                      <a:pt x="642" y="384"/>
                    </a:lnTo>
                    <a:lnTo>
                      <a:pt x="654" y="378"/>
                    </a:lnTo>
                    <a:lnTo>
                      <a:pt x="660" y="372"/>
                    </a:lnTo>
                    <a:lnTo>
                      <a:pt x="672" y="366"/>
                    </a:lnTo>
                    <a:lnTo>
                      <a:pt x="702" y="366"/>
                    </a:lnTo>
                    <a:lnTo>
                      <a:pt x="708" y="354"/>
                    </a:lnTo>
                    <a:lnTo>
                      <a:pt x="738" y="360"/>
                    </a:lnTo>
                    <a:lnTo>
                      <a:pt x="744" y="354"/>
                    </a:lnTo>
                    <a:lnTo>
                      <a:pt x="750" y="342"/>
                    </a:lnTo>
                    <a:lnTo>
                      <a:pt x="756" y="336"/>
                    </a:lnTo>
                    <a:lnTo>
                      <a:pt x="774" y="336"/>
                    </a:lnTo>
                    <a:lnTo>
                      <a:pt x="786" y="348"/>
                    </a:lnTo>
                    <a:lnTo>
                      <a:pt x="786" y="354"/>
                    </a:lnTo>
                    <a:lnTo>
                      <a:pt x="804" y="354"/>
                    </a:lnTo>
                    <a:lnTo>
                      <a:pt x="816" y="342"/>
                    </a:lnTo>
                    <a:lnTo>
                      <a:pt x="798" y="330"/>
                    </a:lnTo>
                    <a:lnTo>
                      <a:pt x="786" y="312"/>
                    </a:lnTo>
                    <a:lnTo>
                      <a:pt x="768" y="312"/>
                    </a:lnTo>
                    <a:lnTo>
                      <a:pt x="762" y="306"/>
                    </a:lnTo>
                    <a:lnTo>
                      <a:pt x="762" y="288"/>
                    </a:lnTo>
                    <a:lnTo>
                      <a:pt x="774" y="264"/>
                    </a:lnTo>
                    <a:lnTo>
                      <a:pt x="774" y="258"/>
                    </a:lnTo>
                    <a:lnTo>
                      <a:pt x="780" y="252"/>
                    </a:lnTo>
                    <a:lnTo>
                      <a:pt x="786" y="252"/>
                    </a:lnTo>
                    <a:lnTo>
                      <a:pt x="792" y="246"/>
                    </a:lnTo>
                    <a:lnTo>
                      <a:pt x="798" y="234"/>
                    </a:lnTo>
                    <a:lnTo>
                      <a:pt x="798" y="216"/>
                    </a:lnTo>
                    <a:lnTo>
                      <a:pt x="792" y="210"/>
                    </a:lnTo>
                    <a:lnTo>
                      <a:pt x="780" y="204"/>
                    </a:lnTo>
                    <a:lnTo>
                      <a:pt x="756" y="204"/>
                    </a:lnTo>
                    <a:lnTo>
                      <a:pt x="750" y="198"/>
                    </a:lnTo>
                    <a:lnTo>
                      <a:pt x="744" y="186"/>
                    </a:lnTo>
                    <a:lnTo>
                      <a:pt x="744" y="180"/>
                    </a:lnTo>
                    <a:lnTo>
                      <a:pt x="732" y="180"/>
                    </a:lnTo>
                    <a:lnTo>
                      <a:pt x="726" y="186"/>
                    </a:lnTo>
                    <a:lnTo>
                      <a:pt x="714" y="192"/>
                    </a:lnTo>
                    <a:lnTo>
                      <a:pt x="702" y="192"/>
                    </a:lnTo>
                    <a:lnTo>
                      <a:pt x="696" y="186"/>
                    </a:lnTo>
                    <a:lnTo>
                      <a:pt x="690" y="186"/>
                    </a:lnTo>
                    <a:lnTo>
                      <a:pt x="684" y="180"/>
                    </a:lnTo>
                    <a:lnTo>
                      <a:pt x="660" y="180"/>
                    </a:lnTo>
                    <a:lnTo>
                      <a:pt x="648" y="192"/>
                    </a:lnTo>
                    <a:lnTo>
                      <a:pt x="648" y="204"/>
                    </a:lnTo>
                    <a:lnTo>
                      <a:pt x="612" y="204"/>
                    </a:lnTo>
                    <a:lnTo>
                      <a:pt x="588" y="198"/>
                    </a:lnTo>
                    <a:lnTo>
                      <a:pt x="576" y="192"/>
                    </a:lnTo>
                    <a:lnTo>
                      <a:pt x="576" y="168"/>
                    </a:lnTo>
                    <a:lnTo>
                      <a:pt x="582" y="162"/>
                    </a:lnTo>
                    <a:lnTo>
                      <a:pt x="582" y="156"/>
                    </a:lnTo>
                    <a:lnTo>
                      <a:pt x="576" y="150"/>
                    </a:lnTo>
                    <a:lnTo>
                      <a:pt x="564" y="144"/>
                    </a:lnTo>
                    <a:lnTo>
                      <a:pt x="552" y="144"/>
                    </a:lnTo>
                    <a:lnTo>
                      <a:pt x="552" y="138"/>
                    </a:lnTo>
                    <a:lnTo>
                      <a:pt x="546" y="132"/>
                    </a:lnTo>
                    <a:lnTo>
                      <a:pt x="546" y="108"/>
                    </a:lnTo>
                    <a:lnTo>
                      <a:pt x="540" y="102"/>
                    </a:lnTo>
                    <a:lnTo>
                      <a:pt x="528" y="102"/>
                    </a:lnTo>
                    <a:lnTo>
                      <a:pt x="516" y="84"/>
                    </a:lnTo>
                    <a:lnTo>
                      <a:pt x="498" y="84"/>
                    </a:lnTo>
                    <a:lnTo>
                      <a:pt x="486" y="48"/>
                    </a:lnTo>
                    <a:lnTo>
                      <a:pt x="480" y="42"/>
                    </a:lnTo>
                    <a:lnTo>
                      <a:pt x="468" y="36"/>
                    </a:lnTo>
                    <a:lnTo>
                      <a:pt x="450" y="18"/>
                    </a:lnTo>
                    <a:lnTo>
                      <a:pt x="438" y="12"/>
                    </a:lnTo>
                    <a:lnTo>
                      <a:pt x="426" y="0"/>
                    </a:lnTo>
                    <a:lnTo>
                      <a:pt x="396" y="0"/>
                    </a:lnTo>
                    <a:lnTo>
                      <a:pt x="414" y="0"/>
                    </a:lnTo>
                    <a:lnTo>
                      <a:pt x="414" y="24"/>
                    </a:lnTo>
                    <a:lnTo>
                      <a:pt x="408" y="24"/>
                    </a:lnTo>
                    <a:lnTo>
                      <a:pt x="408" y="30"/>
                    </a:lnTo>
                    <a:lnTo>
                      <a:pt x="402" y="30"/>
                    </a:lnTo>
                    <a:lnTo>
                      <a:pt x="426" y="48"/>
                    </a:lnTo>
                    <a:lnTo>
                      <a:pt x="426" y="78"/>
                    </a:lnTo>
                    <a:lnTo>
                      <a:pt x="414" y="84"/>
                    </a:lnTo>
                    <a:lnTo>
                      <a:pt x="402" y="126"/>
                    </a:lnTo>
                    <a:lnTo>
                      <a:pt x="396" y="138"/>
                    </a:lnTo>
                    <a:lnTo>
                      <a:pt x="384" y="150"/>
                    </a:lnTo>
                    <a:lnTo>
                      <a:pt x="378" y="162"/>
                    </a:lnTo>
                    <a:lnTo>
                      <a:pt x="366" y="174"/>
                    </a:lnTo>
                    <a:lnTo>
                      <a:pt x="354" y="192"/>
                    </a:lnTo>
                    <a:lnTo>
                      <a:pt x="336" y="204"/>
                    </a:lnTo>
                    <a:lnTo>
                      <a:pt x="276" y="234"/>
                    </a:lnTo>
                    <a:lnTo>
                      <a:pt x="258" y="240"/>
                    </a:lnTo>
                    <a:lnTo>
                      <a:pt x="240" y="252"/>
                    </a:lnTo>
                    <a:lnTo>
                      <a:pt x="222" y="270"/>
                    </a:lnTo>
                    <a:lnTo>
                      <a:pt x="222" y="276"/>
                    </a:lnTo>
                    <a:lnTo>
                      <a:pt x="210" y="282"/>
                    </a:lnTo>
                    <a:lnTo>
                      <a:pt x="210" y="300"/>
                    </a:lnTo>
                    <a:lnTo>
                      <a:pt x="198" y="312"/>
                    </a:lnTo>
                    <a:lnTo>
                      <a:pt x="198" y="336"/>
                    </a:lnTo>
                    <a:lnTo>
                      <a:pt x="192" y="348"/>
                    </a:lnTo>
                    <a:lnTo>
                      <a:pt x="192" y="378"/>
                    </a:lnTo>
                    <a:lnTo>
                      <a:pt x="174" y="378"/>
                    </a:lnTo>
                    <a:lnTo>
                      <a:pt x="168" y="384"/>
                    </a:lnTo>
                    <a:lnTo>
                      <a:pt x="168" y="390"/>
                    </a:lnTo>
                    <a:lnTo>
                      <a:pt x="162" y="396"/>
                    </a:lnTo>
                    <a:lnTo>
                      <a:pt x="162" y="402"/>
                    </a:lnTo>
                    <a:lnTo>
                      <a:pt x="144" y="402"/>
                    </a:lnTo>
                    <a:lnTo>
                      <a:pt x="138" y="390"/>
                    </a:lnTo>
                    <a:lnTo>
                      <a:pt x="138" y="372"/>
                    </a:lnTo>
                    <a:lnTo>
                      <a:pt x="132" y="366"/>
                    </a:lnTo>
                    <a:lnTo>
                      <a:pt x="132" y="360"/>
                    </a:lnTo>
                    <a:lnTo>
                      <a:pt x="102" y="360"/>
                    </a:lnTo>
                    <a:lnTo>
                      <a:pt x="90" y="348"/>
                    </a:lnTo>
                    <a:lnTo>
                      <a:pt x="78" y="360"/>
                    </a:lnTo>
                    <a:lnTo>
                      <a:pt x="66" y="366"/>
                    </a:lnTo>
                    <a:lnTo>
                      <a:pt x="60" y="366"/>
                    </a:lnTo>
                    <a:lnTo>
                      <a:pt x="54" y="360"/>
                    </a:lnTo>
                    <a:lnTo>
                      <a:pt x="66" y="348"/>
                    </a:lnTo>
                    <a:lnTo>
                      <a:pt x="54" y="336"/>
                    </a:lnTo>
                    <a:lnTo>
                      <a:pt x="60" y="330"/>
                    </a:lnTo>
                    <a:lnTo>
                      <a:pt x="66" y="318"/>
                    </a:lnTo>
                    <a:lnTo>
                      <a:pt x="78" y="312"/>
                    </a:lnTo>
                    <a:lnTo>
                      <a:pt x="84" y="300"/>
                    </a:lnTo>
                    <a:lnTo>
                      <a:pt x="90" y="294"/>
                    </a:lnTo>
                    <a:lnTo>
                      <a:pt x="90" y="288"/>
                    </a:lnTo>
                    <a:lnTo>
                      <a:pt x="84" y="288"/>
                    </a:lnTo>
                    <a:lnTo>
                      <a:pt x="72" y="282"/>
                    </a:lnTo>
                    <a:lnTo>
                      <a:pt x="66" y="282"/>
                    </a:lnTo>
                    <a:lnTo>
                      <a:pt x="6" y="342"/>
                    </a:lnTo>
                    <a:lnTo>
                      <a:pt x="0" y="354"/>
                    </a:lnTo>
                    <a:lnTo>
                      <a:pt x="0" y="390"/>
                    </a:lnTo>
                    <a:lnTo>
                      <a:pt x="6" y="396"/>
                    </a:lnTo>
                    <a:lnTo>
                      <a:pt x="18" y="396"/>
                    </a:lnTo>
                    <a:lnTo>
                      <a:pt x="12" y="420"/>
                    </a:lnTo>
                    <a:lnTo>
                      <a:pt x="36" y="444"/>
                    </a:lnTo>
                    <a:lnTo>
                      <a:pt x="36" y="462"/>
                    </a:lnTo>
                    <a:lnTo>
                      <a:pt x="12" y="486"/>
                    </a:lnTo>
                    <a:lnTo>
                      <a:pt x="12" y="492"/>
                    </a:lnTo>
                    <a:lnTo>
                      <a:pt x="18" y="504"/>
                    </a:lnTo>
                    <a:lnTo>
                      <a:pt x="24" y="510"/>
                    </a:lnTo>
                    <a:lnTo>
                      <a:pt x="36" y="516"/>
                    </a:lnTo>
                    <a:lnTo>
                      <a:pt x="54" y="522"/>
                    </a:lnTo>
                    <a:lnTo>
                      <a:pt x="66" y="522"/>
                    </a:lnTo>
                    <a:lnTo>
                      <a:pt x="108" y="564"/>
                    </a:lnTo>
                    <a:lnTo>
                      <a:pt x="114" y="576"/>
                    </a:lnTo>
                    <a:lnTo>
                      <a:pt x="132" y="594"/>
                    </a:lnTo>
                    <a:lnTo>
                      <a:pt x="138" y="612"/>
                    </a:lnTo>
                    <a:lnTo>
                      <a:pt x="144" y="624"/>
                    </a:lnTo>
                    <a:lnTo>
                      <a:pt x="144" y="642"/>
                    </a:lnTo>
                    <a:lnTo>
                      <a:pt x="150" y="648"/>
                    </a:lnTo>
                    <a:lnTo>
                      <a:pt x="156" y="660"/>
                    </a:lnTo>
                    <a:lnTo>
                      <a:pt x="168" y="666"/>
                    </a:lnTo>
                    <a:lnTo>
                      <a:pt x="174" y="678"/>
                    </a:lnTo>
                    <a:lnTo>
                      <a:pt x="192" y="696"/>
                    </a:lnTo>
                    <a:lnTo>
                      <a:pt x="204" y="720"/>
                    </a:lnTo>
                    <a:lnTo>
                      <a:pt x="216" y="732"/>
                    </a:lnTo>
                    <a:lnTo>
                      <a:pt x="222" y="744"/>
                    </a:lnTo>
                    <a:lnTo>
                      <a:pt x="234" y="762"/>
                    </a:lnTo>
                    <a:lnTo>
                      <a:pt x="240" y="768"/>
                    </a:lnTo>
                    <a:lnTo>
                      <a:pt x="246" y="780"/>
                    </a:lnTo>
                    <a:lnTo>
                      <a:pt x="252" y="822"/>
                    </a:lnTo>
                    <a:lnTo>
                      <a:pt x="252" y="828"/>
                    </a:lnTo>
                    <a:lnTo>
                      <a:pt x="258" y="834"/>
                    </a:lnTo>
                    <a:lnTo>
                      <a:pt x="264" y="846"/>
                    </a:lnTo>
                    <a:lnTo>
                      <a:pt x="270" y="864"/>
                    </a:lnTo>
                    <a:lnTo>
                      <a:pt x="282" y="876"/>
                    </a:lnTo>
                    <a:lnTo>
                      <a:pt x="288" y="894"/>
                    </a:lnTo>
                    <a:lnTo>
                      <a:pt x="294" y="906"/>
                    </a:lnTo>
                    <a:lnTo>
                      <a:pt x="294" y="918"/>
                    </a:lnTo>
                    <a:lnTo>
                      <a:pt x="300" y="924"/>
                    </a:lnTo>
                    <a:lnTo>
                      <a:pt x="312" y="924"/>
                    </a:lnTo>
                    <a:lnTo>
                      <a:pt x="324" y="936"/>
                    </a:lnTo>
                    <a:lnTo>
                      <a:pt x="324" y="948"/>
                    </a:lnTo>
                    <a:lnTo>
                      <a:pt x="330" y="954"/>
                    </a:lnTo>
                    <a:lnTo>
                      <a:pt x="330" y="966"/>
                    </a:lnTo>
                    <a:lnTo>
                      <a:pt x="336" y="984"/>
                    </a:lnTo>
                    <a:lnTo>
                      <a:pt x="360" y="1014"/>
                    </a:lnTo>
                    <a:lnTo>
                      <a:pt x="378" y="1050"/>
                    </a:lnTo>
                    <a:lnTo>
                      <a:pt x="396" y="1074"/>
                    </a:lnTo>
                    <a:lnTo>
                      <a:pt x="402" y="1086"/>
                    </a:lnTo>
                    <a:lnTo>
                      <a:pt x="408" y="1104"/>
                    </a:lnTo>
                    <a:lnTo>
                      <a:pt x="408" y="1116"/>
                    </a:lnTo>
                    <a:lnTo>
                      <a:pt x="402" y="1128"/>
                    </a:lnTo>
                    <a:lnTo>
                      <a:pt x="402" y="1146"/>
                    </a:lnTo>
                    <a:lnTo>
                      <a:pt x="414" y="1158"/>
                    </a:lnTo>
                    <a:lnTo>
                      <a:pt x="420" y="1170"/>
                    </a:lnTo>
                    <a:lnTo>
                      <a:pt x="444" y="1194"/>
                    </a:lnTo>
                    <a:lnTo>
                      <a:pt x="456" y="1200"/>
                    </a:lnTo>
                    <a:lnTo>
                      <a:pt x="468" y="1212"/>
                    </a:lnTo>
                    <a:lnTo>
                      <a:pt x="474" y="1224"/>
                    </a:lnTo>
                    <a:lnTo>
                      <a:pt x="498" y="1248"/>
                    </a:lnTo>
                    <a:lnTo>
                      <a:pt x="516" y="1260"/>
                    </a:lnTo>
                    <a:lnTo>
                      <a:pt x="546" y="1278"/>
                    </a:lnTo>
                    <a:lnTo>
                      <a:pt x="576" y="1290"/>
                    </a:lnTo>
                    <a:lnTo>
                      <a:pt x="600" y="1302"/>
                    </a:lnTo>
                    <a:lnTo>
                      <a:pt x="642" y="1320"/>
                    </a:lnTo>
                    <a:lnTo>
                      <a:pt x="696" y="1350"/>
                    </a:lnTo>
                    <a:lnTo>
                      <a:pt x="708" y="1362"/>
                    </a:lnTo>
                    <a:lnTo>
                      <a:pt x="726" y="1374"/>
                    </a:lnTo>
                    <a:lnTo>
                      <a:pt x="738" y="1380"/>
                    </a:lnTo>
                    <a:lnTo>
                      <a:pt x="750" y="1392"/>
                    </a:lnTo>
                    <a:lnTo>
                      <a:pt x="774" y="1404"/>
                    </a:lnTo>
                    <a:lnTo>
                      <a:pt x="780" y="1428"/>
                    </a:lnTo>
                    <a:lnTo>
                      <a:pt x="792" y="1434"/>
                    </a:lnTo>
                    <a:lnTo>
                      <a:pt x="798" y="1446"/>
                    </a:lnTo>
                    <a:lnTo>
                      <a:pt x="810" y="1452"/>
                    </a:lnTo>
                    <a:lnTo>
                      <a:pt x="816" y="1458"/>
                    </a:lnTo>
                    <a:lnTo>
                      <a:pt x="840" y="1470"/>
                    </a:lnTo>
                    <a:lnTo>
                      <a:pt x="846" y="1482"/>
                    </a:lnTo>
                    <a:lnTo>
                      <a:pt x="858" y="1488"/>
                    </a:lnTo>
                    <a:lnTo>
                      <a:pt x="894" y="1464"/>
                    </a:lnTo>
                    <a:lnTo>
                      <a:pt x="900" y="1458"/>
                    </a:lnTo>
                    <a:lnTo>
                      <a:pt x="900" y="1440"/>
                    </a:lnTo>
                    <a:lnTo>
                      <a:pt x="894" y="1428"/>
                    </a:lnTo>
                    <a:lnTo>
                      <a:pt x="912" y="1416"/>
                    </a:lnTo>
                    <a:lnTo>
                      <a:pt x="900" y="1392"/>
                    </a:lnTo>
                    <a:lnTo>
                      <a:pt x="918" y="1374"/>
                    </a:lnTo>
                    <a:lnTo>
                      <a:pt x="930" y="1368"/>
                    </a:lnTo>
                    <a:lnTo>
                      <a:pt x="942" y="1344"/>
                    </a:lnTo>
                    <a:lnTo>
                      <a:pt x="942" y="1332"/>
                    </a:lnTo>
                    <a:lnTo>
                      <a:pt x="930" y="1320"/>
                    </a:lnTo>
                    <a:close/>
                  </a:path>
                </a:pathLst>
              </a:custGeom>
              <a:solidFill>
                <a:srgbClr val="93C11C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" name="Paraguay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8A013D1-98DC-44A2-A286-BBD5EDE0DEB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75987" y="1500908"/>
                <a:ext cx="215022" cy="243314"/>
              </a:xfrm>
              <a:custGeom>
                <a:avLst/>
                <a:gdLst>
                  <a:gd name="T0" fmla="*/ 2147483647 w 600"/>
                  <a:gd name="T1" fmla="*/ 2147483647 h 678"/>
                  <a:gd name="T2" fmla="*/ 2147483647 w 600"/>
                  <a:gd name="T3" fmla="*/ 2147483647 h 678"/>
                  <a:gd name="T4" fmla="*/ 2147483647 w 600"/>
                  <a:gd name="T5" fmla="*/ 2147483647 h 678"/>
                  <a:gd name="T6" fmla="*/ 2147483647 w 600"/>
                  <a:gd name="T7" fmla="*/ 2147483647 h 678"/>
                  <a:gd name="T8" fmla="*/ 2147483647 w 600"/>
                  <a:gd name="T9" fmla="*/ 2147483647 h 678"/>
                  <a:gd name="T10" fmla="*/ 2147483647 w 600"/>
                  <a:gd name="T11" fmla="*/ 2147483647 h 678"/>
                  <a:gd name="T12" fmla="*/ 2147483647 w 600"/>
                  <a:gd name="T13" fmla="*/ 2147483647 h 678"/>
                  <a:gd name="T14" fmla="*/ 2147483647 w 600"/>
                  <a:gd name="T15" fmla="*/ 2147483647 h 678"/>
                  <a:gd name="T16" fmla="*/ 2147483647 w 600"/>
                  <a:gd name="T17" fmla="*/ 2147483647 h 678"/>
                  <a:gd name="T18" fmla="*/ 2147483647 w 600"/>
                  <a:gd name="T19" fmla="*/ 2147483647 h 678"/>
                  <a:gd name="T20" fmla="*/ 2147483647 w 600"/>
                  <a:gd name="T21" fmla="*/ 2147483647 h 678"/>
                  <a:gd name="T22" fmla="*/ 2147483647 w 600"/>
                  <a:gd name="T23" fmla="*/ 2147483647 h 678"/>
                  <a:gd name="T24" fmla="*/ 2147483647 w 600"/>
                  <a:gd name="T25" fmla="*/ 2147483647 h 678"/>
                  <a:gd name="T26" fmla="*/ 2147483647 w 600"/>
                  <a:gd name="T27" fmla="*/ 2147483647 h 678"/>
                  <a:gd name="T28" fmla="*/ 2147483647 w 600"/>
                  <a:gd name="T29" fmla="*/ 2147483647 h 678"/>
                  <a:gd name="T30" fmla="*/ 2147483647 w 600"/>
                  <a:gd name="T31" fmla="*/ 2147483647 h 678"/>
                  <a:gd name="T32" fmla="*/ 2147483647 w 600"/>
                  <a:gd name="T33" fmla="*/ 2147483647 h 678"/>
                  <a:gd name="T34" fmla="*/ 2147483647 w 600"/>
                  <a:gd name="T35" fmla="*/ 2147483647 h 678"/>
                  <a:gd name="T36" fmla="*/ 2147483647 w 600"/>
                  <a:gd name="T37" fmla="*/ 2147483647 h 678"/>
                  <a:gd name="T38" fmla="*/ 2147483647 w 600"/>
                  <a:gd name="T39" fmla="*/ 2147483647 h 678"/>
                  <a:gd name="T40" fmla="*/ 2147483647 w 600"/>
                  <a:gd name="T41" fmla="*/ 2147483647 h 678"/>
                  <a:gd name="T42" fmla="*/ 2147483647 w 600"/>
                  <a:gd name="T43" fmla="*/ 2147483647 h 678"/>
                  <a:gd name="T44" fmla="*/ 2147483647 w 600"/>
                  <a:gd name="T45" fmla="*/ 2147483647 h 678"/>
                  <a:gd name="T46" fmla="*/ 2147483647 w 600"/>
                  <a:gd name="T47" fmla="*/ 2147483647 h 678"/>
                  <a:gd name="T48" fmla="*/ 2147483647 w 600"/>
                  <a:gd name="T49" fmla="*/ 2147483647 h 678"/>
                  <a:gd name="T50" fmla="*/ 2147483647 w 600"/>
                  <a:gd name="T51" fmla="*/ 2147483647 h 678"/>
                  <a:gd name="T52" fmla="*/ 2147483647 w 600"/>
                  <a:gd name="T53" fmla="*/ 0 h 678"/>
                  <a:gd name="T54" fmla="*/ 2147483647 w 600"/>
                  <a:gd name="T55" fmla="*/ 2147483647 h 678"/>
                  <a:gd name="T56" fmla="*/ 2147483647 w 600"/>
                  <a:gd name="T57" fmla="*/ 2147483647 h 678"/>
                  <a:gd name="T58" fmla="*/ 0 w 600"/>
                  <a:gd name="T59" fmla="*/ 2147483647 h 678"/>
                  <a:gd name="T60" fmla="*/ 2147483647 w 600"/>
                  <a:gd name="T61" fmla="*/ 2147483647 h 678"/>
                  <a:gd name="T62" fmla="*/ 2147483647 w 600"/>
                  <a:gd name="T63" fmla="*/ 2147483647 h 678"/>
                  <a:gd name="T64" fmla="*/ 2147483647 w 600"/>
                  <a:gd name="T65" fmla="*/ 2147483647 h 678"/>
                  <a:gd name="T66" fmla="*/ 2147483647 w 600"/>
                  <a:gd name="T67" fmla="*/ 2147483647 h 678"/>
                  <a:gd name="T68" fmla="*/ 2147483647 w 600"/>
                  <a:gd name="T69" fmla="*/ 2147483647 h 678"/>
                  <a:gd name="T70" fmla="*/ 2147483647 w 600"/>
                  <a:gd name="T71" fmla="*/ 2147483647 h 678"/>
                  <a:gd name="T72" fmla="*/ 2147483647 w 600"/>
                  <a:gd name="T73" fmla="*/ 2147483647 h 678"/>
                  <a:gd name="T74" fmla="*/ 2147483647 w 600"/>
                  <a:gd name="T75" fmla="*/ 2147483647 h 678"/>
                  <a:gd name="T76" fmla="*/ 2147483647 w 600"/>
                  <a:gd name="T77" fmla="*/ 2147483647 h 678"/>
                  <a:gd name="T78" fmla="*/ 2147483647 w 600"/>
                  <a:gd name="T79" fmla="*/ 2147483647 h 678"/>
                  <a:gd name="T80" fmla="*/ 2147483647 w 600"/>
                  <a:gd name="T81" fmla="*/ 2147483647 h 678"/>
                  <a:gd name="T82" fmla="*/ 2147483647 w 600"/>
                  <a:gd name="T83" fmla="*/ 2147483647 h 678"/>
                  <a:gd name="T84" fmla="*/ 2147483647 w 600"/>
                  <a:gd name="T85" fmla="*/ 2147483647 h 678"/>
                  <a:gd name="T86" fmla="*/ 2147483647 w 600"/>
                  <a:gd name="T87" fmla="*/ 2147483647 h 678"/>
                  <a:gd name="T88" fmla="*/ 2147483647 w 600"/>
                  <a:gd name="T89" fmla="*/ 2147483647 h 678"/>
                  <a:gd name="T90" fmla="*/ 2147483647 w 600"/>
                  <a:gd name="T91" fmla="*/ 2147483647 h 678"/>
                  <a:gd name="T92" fmla="*/ 2147483647 w 600"/>
                  <a:gd name="T93" fmla="*/ 2147483647 h 678"/>
                  <a:gd name="T94" fmla="*/ 2147483647 w 600"/>
                  <a:gd name="T95" fmla="*/ 2147483647 h 678"/>
                  <a:gd name="T96" fmla="*/ 2147483647 w 600"/>
                  <a:gd name="T97" fmla="*/ 2147483647 h 678"/>
                  <a:gd name="T98" fmla="*/ 2147483647 w 600"/>
                  <a:gd name="T99" fmla="*/ 2147483647 h 678"/>
                  <a:gd name="T100" fmla="*/ 2147483647 w 600"/>
                  <a:gd name="T101" fmla="*/ 2147483647 h 678"/>
                  <a:gd name="T102" fmla="*/ 2147483647 w 600"/>
                  <a:gd name="T103" fmla="*/ 2147483647 h 678"/>
                  <a:gd name="T104" fmla="*/ 2147483647 w 600"/>
                  <a:gd name="T105" fmla="*/ 2147483647 h 678"/>
                  <a:gd name="T106" fmla="*/ 2147483647 w 600"/>
                  <a:gd name="T107" fmla="*/ 2147483647 h 678"/>
                  <a:gd name="T108" fmla="*/ 2147483647 w 600"/>
                  <a:gd name="T109" fmla="*/ 2147483647 h 678"/>
                  <a:gd name="T110" fmla="*/ 2147483647 w 600"/>
                  <a:gd name="T111" fmla="*/ 2147483647 h 678"/>
                  <a:gd name="T112" fmla="*/ 2147483647 w 600"/>
                  <a:gd name="T113" fmla="*/ 2147483647 h 678"/>
                  <a:gd name="T114" fmla="*/ 2147483647 w 600"/>
                  <a:gd name="T115" fmla="*/ 2147483647 h 678"/>
                  <a:gd name="T116" fmla="*/ 2147483647 w 600"/>
                  <a:gd name="T117" fmla="*/ 2147483647 h 678"/>
                  <a:gd name="T118" fmla="*/ 2147483647 w 600"/>
                  <a:gd name="T119" fmla="*/ 2147483647 h 67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600"/>
                  <a:gd name="T181" fmla="*/ 0 h 678"/>
                  <a:gd name="T182" fmla="*/ 600 w 600"/>
                  <a:gd name="T183" fmla="*/ 678 h 678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600" h="678">
                    <a:moveTo>
                      <a:pt x="480" y="660"/>
                    </a:moveTo>
                    <a:lnTo>
                      <a:pt x="492" y="678"/>
                    </a:lnTo>
                    <a:lnTo>
                      <a:pt x="492" y="660"/>
                    </a:lnTo>
                    <a:lnTo>
                      <a:pt x="498" y="654"/>
                    </a:lnTo>
                    <a:lnTo>
                      <a:pt x="510" y="654"/>
                    </a:lnTo>
                    <a:lnTo>
                      <a:pt x="516" y="660"/>
                    </a:lnTo>
                    <a:lnTo>
                      <a:pt x="516" y="666"/>
                    </a:lnTo>
                    <a:lnTo>
                      <a:pt x="522" y="660"/>
                    </a:lnTo>
                    <a:lnTo>
                      <a:pt x="534" y="636"/>
                    </a:lnTo>
                    <a:lnTo>
                      <a:pt x="546" y="624"/>
                    </a:lnTo>
                    <a:lnTo>
                      <a:pt x="552" y="624"/>
                    </a:lnTo>
                    <a:lnTo>
                      <a:pt x="558" y="618"/>
                    </a:lnTo>
                    <a:lnTo>
                      <a:pt x="570" y="612"/>
                    </a:lnTo>
                    <a:lnTo>
                      <a:pt x="576" y="600"/>
                    </a:lnTo>
                    <a:lnTo>
                      <a:pt x="588" y="594"/>
                    </a:lnTo>
                    <a:lnTo>
                      <a:pt x="588" y="516"/>
                    </a:lnTo>
                    <a:lnTo>
                      <a:pt x="582" y="498"/>
                    </a:lnTo>
                    <a:lnTo>
                      <a:pt x="582" y="486"/>
                    </a:lnTo>
                    <a:lnTo>
                      <a:pt x="588" y="474"/>
                    </a:lnTo>
                    <a:lnTo>
                      <a:pt x="588" y="468"/>
                    </a:lnTo>
                    <a:lnTo>
                      <a:pt x="594" y="462"/>
                    </a:lnTo>
                    <a:lnTo>
                      <a:pt x="594" y="432"/>
                    </a:lnTo>
                    <a:lnTo>
                      <a:pt x="600" y="414"/>
                    </a:lnTo>
                    <a:lnTo>
                      <a:pt x="600" y="396"/>
                    </a:lnTo>
                    <a:lnTo>
                      <a:pt x="594" y="384"/>
                    </a:lnTo>
                    <a:lnTo>
                      <a:pt x="582" y="372"/>
                    </a:lnTo>
                    <a:lnTo>
                      <a:pt x="570" y="366"/>
                    </a:lnTo>
                    <a:lnTo>
                      <a:pt x="558" y="366"/>
                    </a:lnTo>
                    <a:lnTo>
                      <a:pt x="540" y="384"/>
                    </a:lnTo>
                    <a:lnTo>
                      <a:pt x="528" y="384"/>
                    </a:lnTo>
                    <a:lnTo>
                      <a:pt x="516" y="378"/>
                    </a:lnTo>
                    <a:lnTo>
                      <a:pt x="504" y="354"/>
                    </a:lnTo>
                    <a:lnTo>
                      <a:pt x="504" y="336"/>
                    </a:lnTo>
                    <a:lnTo>
                      <a:pt x="498" y="318"/>
                    </a:lnTo>
                    <a:lnTo>
                      <a:pt x="498" y="294"/>
                    </a:lnTo>
                    <a:lnTo>
                      <a:pt x="492" y="276"/>
                    </a:lnTo>
                    <a:lnTo>
                      <a:pt x="492" y="252"/>
                    </a:lnTo>
                    <a:lnTo>
                      <a:pt x="486" y="246"/>
                    </a:lnTo>
                    <a:lnTo>
                      <a:pt x="474" y="240"/>
                    </a:lnTo>
                    <a:lnTo>
                      <a:pt x="402" y="240"/>
                    </a:lnTo>
                    <a:lnTo>
                      <a:pt x="360" y="234"/>
                    </a:lnTo>
                    <a:lnTo>
                      <a:pt x="324" y="222"/>
                    </a:lnTo>
                    <a:lnTo>
                      <a:pt x="318" y="216"/>
                    </a:lnTo>
                    <a:lnTo>
                      <a:pt x="312" y="204"/>
                    </a:lnTo>
                    <a:lnTo>
                      <a:pt x="312" y="162"/>
                    </a:lnTo>
                    <a:lnTo>
                      <a:pt x="318" y="150"/>
                    </a:lnTo>
                    <a:lnTo>
                      <a:pt x="318" y="132"/>
                    </a:lnTo>
                    <a:lnTo>
                      <a:pt x="306" y="132"/>
                    </a:lnTo>
                    <a:lnTo>
                      <a:pt x="306" y="96"/>
                    </a:lnTo>
                    <a:lnTo>
                      <a:pt x="294" y="90"/>
                    </a:lnTo>
                    <a:lnTo>
                      <a:pt x="288" y="84"/>
                    </a:lnTo>
                    <a:lnTo>
                      <a:pt x="288" y="78"/>
                    </a:lnTo>
                    <a:lnTo>
                      <a:pt x="270" y="42"/>
                    </a:lnTo>
                    <a:lnTo>
                      <a:pt x="216" y="0"/>
                    </a:lnTo>
                    <a:lnTo>
                      <a:pt x="138" y="12"/>
                    </a:lnTo>
                    <a:lnTo>
                      <a:pt x="36" y="30"/>
                    </a:lnTo>
                    <a:lnTo>
                      <a:pt x="30" y="60"/>
                    </a:lnTo>
                    <a:lnTo>
                      <a:pt x="18" y="72"/>
                    </a:lnTo>
                    <a:lnTo>
                      <a:pt x="6" y="78"/>
                    </a:lnTo>
                    <a:lnTo>
                      <a:pt x="0" y="84"/>
                    </a:lnTo>
                    <a:lnTo>
                      <a:pt x="0" y="96"/>
                    </a:lnTo>
                    <a:lnTo>
                      <a:pt x="12" y="120"/>
                    </a:lnTo>
                    <a:lnTo>
                      <a:pt x="12" y="126"/>
                    </a:lnTo>
                    <a:lnTo>
                      <a:pt x="18" y="132"/>
                    </a:lnTo>
                    <a:lnTo>
                      <a:pt x="18" y="156"/>
                    </a:lnTo>
                    <a:lnTo>
                      <a:pt x="6" y="228"/>
                    </a:lnTo>
                    <a:lnTo>
                      <a:pt x="6" y="246"/>
                    </a:lnTo>
                    <a:lnTo>
                      <a:pt x="24" y="264"/>
                    </a:lnTo>
                    <a:lnTo>
                      <a:pt x="24" y="270"/>
                    </a:lnTo>
                    <a:lnTo>
                      <a:pt x="30" y="276"/>
                    </a:lnTo>
                    <a:lnTo>
                      <a:pt x="36" y="288"/>
                    </a:lnTo>
                    <a:lnTo>
                      <a:pt x="48" y="294"/>
                    </a:lnTo>
                    <a:lnTo>
                      <a:pt x="54" y="306"/>
                    </a:lnTo>
                    <a:lnTo>
                      <a:pt x="60" y="312"/>
                    </a:lnTo>
                    <a:lnTo>
                      <a:pt x="84" y="324"/>
                    </a:lnTo>
                    <a:lnTo>
                      <a:pt x="102" y="342"/>
                    </a:lnTo>
                    <a:lnTo>
                      <a:pt x="114" y="348"/>
                    </a:lnTo>
                    <a:lnTo>
                      <a:pt x="120" y="366"/>
                    </a:lnTo>
                    <a:lnTo>
                      <a:pt x="126" y="366"/>
                    </a:lnTo>
                    <a:lnTo>
                      <a:pt x="132" y="372"/>
                    </a:lnTo>
                    <a:lnTo>
                      <a:pt x="168" y="390"/>
                    </a:lnTo>
                    <a:lnTo>
                      <a:pt x="198" y="390"/>
                    </a:lnTo>
                    <a:lnTo>
                      <a:pt x="210" y="396"/>
                    </a:lnTo>
                    <a:lnTo>
                      <a:pt x="216" y="402"/>
                    </a:lnTo>
                    <a:lnTo>
                      <a:pt x="228" y="408"/>
                    </a:lnTo>
                    <a:lnTo>
                      <a:pt x="234" y="414"/>
                    </a:lnTo>
                    <a:lnTo>
                      <a:pt x="240" y="414"/>
                    </a:lnTo>
                    <a:lnTo>
                      <a:pt x="246" y="420"/>
                    </a:lnTo>
                    <a:lnTo>
                      <a:pt x="258" y="426"/>
                    </a:lnTo>
                    <a:lnTo>
                      <a:pt x="276" y="438"/>
                    </a:lnTo>
                    <a:lnTo>
                      <a:pt x="312" y="456"/>
                    </a:lnTo>
                    <a:lnTo>
                      <a:pt x="318" y="462"/>
                    </a:lnTo>
                    <a:lnTo>
                      <a:pt x="330" y="462"/>
                    </a:lnTo>
                    <a:lnTo>
                      <a:pt x="342" y="468"/>
                    </a:lnTo>
                    <a:lnTo>
                      <a:pt x="360" y="474"/>
                    </a:lnTo>
                    <a:lnTo>
                      <a:pt x="372" y="480"/>
                    </a:lnTo>
                    <a:lnTo>
                      <a:pt x="378" y="486"/>
                    </a:lnTo>
                    <a:lnTo>
                      <a:pt x="372" y="492"/>
                    </a:lnTo>
                    <a:lnTo>
                      <a:pt x="372" y="504"/>
                    </a:lnTo>
                    <a:lnTo>
                      <a:pt x="366" y="510"/>
                    </a:lnTo>
                    <a:lnTo>
                      <a:pt x="360" y="522"/>
                    </a:lnTo>
                    <a:lnTo>
                      <a:pt x="366" y="528"/>
                    </a:lnTo>
                    <a:lnTo>
                      <a:pt x="372" y="540"/>
                    </a:lnTo>
                    <a:lnTo>
                      <a:pt x="372" y="546"/>
                    </a:lnTo>
                    <a:lnTo>
                      <a:pt x="366" y="552"/>
                    </a:lnTo>
                    <a:lnTo>
                      <a:pt x="348" y="552"/>
                    </a:lnTo>
                    <a:lnTo>
                      <a:pt x="348" y="588"/>
                    </a:lnTo>
                    <a:lnTo>
                      <a:pt x="342" y="594"/>
                    </a:lnTo>
                    <a:lnTo>
                      <a:pt x="336" y="606"/>
                    </a:lnTo>
                    <a:lnTo>
                      <a:pt x="330" y="612"/>
                    </a:lnTo>
                    <a:lnTo>
                      <a:pt x="324" y="624"/>
                    </a:lnTo>
                    <a:lnTo>
                      <a:pt x="324" y="636"/>
                    </a:lnTo>
                    <a:lnTo>
                      <a:pt x="330" y="642"/>
                    </a:lnTo>
                    <a:lnTo>
                      <a:pt x="354" y="642"/>
                    </a:lnTo>
                    <a:lnTo>
                      <a:pt x="366" y="636"/>
                    </a:lnTo>
                    <a:lnTo>
                      <a:pt x="372" y="636"/>
                    </a:lnTo>
                    <a:lnTo>
                      <a:pt x="384" y="642"/>
                    </a:lnTo>
                    <a:lnTo>
                      <a:pt x="390" y="648"/>
                    </a:lnTo>
                    <a:lnTo>
                      <a:pt x="402" y="654"/>
                    </a:lnTo>
                    <a:lnTo>
                      <a:pt x="420" y="660"/>
                    </a:lnTo>
                    <a:lnTo>
                      <a:pt x="480" y="660"/>
                    </a:lnTo>
                    <a:close/>
                  </a:path>
                </a:pathLst>
              </a:custGeom>
              <a:solidFill>
                <a:srgbClr val="93C11C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" name="Panam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21E1FCBF-1FE4-41A3-8A34-6D506EC3628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4285" y="666285"/>
                <a:ext cx="145706" cy="70731"/>
              </a:xfrm>
              <a:custGeom>
                <a:avLst/>
                <a:gdLst>
                  <a:gd name="T0" fmla="*/ 2147483647 w 408"/>
                  <a:gd name="T1" fmla="*/ 2147483647 h 198"/>
                  <a:gd name="T2" fmla="*/ 2147483647 w 408"/>
                  <a:gd name="T3" fmla="*/ 2147483647 h 198"/>
                  <a:gd name="T4" fmla="*/ 2147483647 w 408"/>
                  <a:gd name="T5" fmla="*/ 2147483647 h 198"/>
                  <a:gd name="T6" fmla="*/ 2147483647 w 408"/>
                  <a:gd name="T7" fmla="*/ 2147483647 h 198"/>
                  <a:gd name="T8" fmla="*/ 2147483647 w 408"/>
                  <a:gd name="T9" fmla="*/ 2147483647 h 198"/>
                  <a:gd name="T10" fmla="*/ 2147483647 w 408"/>
                  <a:gd name="T11" fmla="*/ 2147483647 h 198"/>
                  <a:gd name="T12" fmla="*/ 2147483647 w 408"/>
                  <a:gd name="T13" fmla="*/ 2147483647 h 198"/>
                  <a:gd name="T14" fmla="*/ 2147483647 w 408"/>
                  <a:gd name="T15" fmla="*/ 2147483647 h 198"/>
                  <a:gd name="T16" fmla="*/ 2147483647 w 408"/>
                  <a:gd name="T17" fmla="*/ 2147483647 h 198"/>
                  <a:gd name="T18" fmla="*/ 2147483647 w 408"/>
                  <a:gd name="T19" fmla="*/ 2147483647 h 198"/>
                  <a:gd name="T20" fmla="*/ 2147483647 w 408"/>
                  <a:gd name="T21" fmla="*/ 2147483647 h 198"/>
                  <a:gd name="T22" fmla="*/ 2147483647 w 408"/>
                  <a:gd name="T23" fmla="*/ 2147483647 h 198"/>
                  <a:gd name="T24" fmla="*/ 2147483647 w 408"/>
                  <a:gd name="T25" fmla="*/ 2147483647 h 198"/>
                  <a:gd name="T26" fmla="*/ 2147483647 w 408"/>
                  <a:gd name="T27" fmla="*/ 2147483647 h 198"/>
                  <a:gd name="T28" fmla="*/ 2147483647 w 408"/>
                  <a:gd name="T29" fmla="*/ 2147483647 h 198"/>
                  <a:gd name="T30" fmla="*/ 2147483647 w 408"/>
                  <a:gd name="T31" fmla="*/ 2147483647 h 198"/>
                  <a:gd name="T32" fmla="*/ 2147483647 w 408"/>
                  <a:gd name="T33" fmla="*/ 0 h 198"/>
                  <a:gd name="T34" fmla="*/ 2147483647 w 408"/>
                  <a:gd name="T35" fmla="*/ 2147483647 h 198"/>
                  <a:gd name="T36" fmla="*/ 2147483647 w 408"/>
                  <a:gd name="T37" fmla="*/ 2147483647 h 198"/>
                  <a:gd name="T38" fmla="*/ 2147483647 w 408"/>
                  <a:gd name="T39" fmla="*/ 2147483647 h 198"/>
                  <a:gd name="T40" fmla="*/ 2147483647 w 408"/>
                  <a:gd name="T41" fmla="*/ 2147483647 h 198"/>
                  <a:gd name="T42" fmla="*/ 2147483647 w 408"/>
                  <a:gd name="T43" fmla="*/ 2147483647 h 198"/>
                  <a:gd name="T44" fmla="*/ 2147483647 w 408"/>
                  <a:gd name="T45" fmla="*/ 2147483647 h 198"/>
                  <a:gd name="T46" fmla="*/ 2147483647 w 408"/>
                  <a:gd name="T47" fmla="*/ 2147483647 h 198"/>
                  <a:gd name="T48" fmla="*/ 2147483647 w 408"/>
                  <a:gd name="T49" fmla="*/ 2147483647 h 198"/>
                  <a:gd name="T50" fmla="*/ 2147483647 w 408"/>
                  <a:gd name="T51" fmla="*/ 2147483647 h 198"/>
                  <a:gd name="T52" fmla="*/ 2147483647 w 408"/>
                  <a:gd name="T53" fmla="*/ 2147483647 h 198"/>
                  <a:gd name="T54" fmla="*/ 2147483647 w 408"/>
                  <a:gd name="T55" fmla="*/ 2147483647 h 198"/>
                  <a:gd name="T56" fmla="*/ 0 w 408"/>
                  <a:gd name="T57" fmla="*/ 2147483647 h 198"/>
                  <a:gd name="T58" fmla="*/ 2147483647 w 408"/>
                  <a:gd name="T59" fmla="*/ 2147483647 h 198"/>
                  <a:gd name="T60" fmla="*/ 2147483647 w 408"/>
                  <a:gd name="T61" fmla="*/ 2147483647 h 198"/>
                  <a:gd name="T62" fmla="*/ 2147483647 w 408"/>
                  <a:gd name="T63" fmla="*/ 2147483647 h 198"/>
                  <a:gd name="T64" fmla="*/ 0 w 408"/>
                  <a:gd name="T65" fmla="*/ 2147483647 h 198"/>
                  <a:gd name="T66" fmla="*/ 2147483647 w 408"/>
                  <a:gd name="T67" fmla="*/ 2147483647 h 198"/>
                  <a:gd name="T68" fmla="*/ 2147483647 w 408"/>
                  <a:gd name="T69" fmla="*/ 2147483647 h 198"/>
                  <a:gd name="T70" fmla="*/ 2147483647 w 408"/>
                  <a:gd name="T71" fmla="*/ 2147483647 h 198"/>
                  <a:gd name="T72" fmla="*/ 2147483647 w 408"/>
                  <a:gd name="T73" fmla="*/ 2147483647 h 198"/>
                  <a:gd name="T74" fmla="*/ 2147483647 w 408"/>
                  <a:gd name="T75" fmla="*/ 2147483647 h 198"/>
                  <a:gd name="T76" fmla="*/ 2147483647 w 408"/>
                  <a:gd name="T77" fmla="*/ 2147483647 h 198"/>
                  <a:gd name="T78" fmla="*/ 2147483647 w 408"/>
                  <a:gd name="T79" fmla="*/ 2147483647 h 198"/>
                  <a:gd name="T80" fmla="*/ 2147483647 w 408"/>
                  <a:gd name="T81" fmla="*/ 2147483647 h 198"/>
                  <a:gd name="T82" fmla="*/ 2147483647 w 408"/>
                  <a:gd name="T83" fmla="*/ 2147483647 h 198"/>
                  <a:gd name="T84" fmla="*/ 2147483647 w 408"/>
                  <a:gd name="T85" fmla="*/ 2147483647 h 198"/>
                  <a:gd name="T86" fmla="*/ 2147483647 w 408"/>
                  <a:gd name="T87" fmla="*/ 2147483647 h 198"/>
                  <a:gd name="T88" fmla="*/ 2147483647 w 408"/>
                  <a:gd name="T89" fmla="*/ 2147483647 h 198"/>
                  <a:gd name="T90" fmla="*/ 2147483647 w 408"/>
                  <a:gd name="T91" fmla="*/ 2147483647 h 198"/>
                  <a:gd name="T92" fmla="*/ 2147483647 w 408"/>
                  <a:gd name="T93" fmla="*/ 2147483647 h 198"/>
                  <a:gd name="T94" fmla="*/ 2147483647 w 408"/>
                  <a:gd name="T95" fmla="*/ 2147483647 h 198"/>
                  <a:gd name="T96" fmla="*/ 2147483647 w 408"/>
                  <a:gd name="T97" fmla="*/ 2147483647 h 198"/>
                  <a:gd name="T98" fmla="*/ 2147483647 w 408"/>
                  <a:gd name="T99" fmla="*/ 2147483647 h 198"/>
                  <a:gd name="T100" fmla="*/ 2147483647 w 408"/>
                  <a:gd name="T101" fmla="*/ 2147483647 h 198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408"/>
                  <a:gd name="T154" fmla="*/ 0 h 198"/>
                  <a:gd name="T155" fmla="*/ 408 w 408"/>
                  <a:gd name="T156" fmla="*/ 198 h 198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408" h="198">
                    <a:moveTo>
                      <a:pt x="306" y="66"/>
                    </a:moveTo>
                    <a:lnTo>
                      <a:pt x="318" y="78"/>
                    </a:lnTo>
                    <a:lnTo>
                      <a:pt x="324" y="90"/>
                    </a:lnTo>
                    <a:lnTo>
                      <a:pt x="330" y="96"/>
                    </a:lnTo>
                    <a:lnTo>
                      <a:pt x="342" y="90"/>
                    </a:lnTo>
                    <a:lnTo>
                      <a:pt x="372" y="120"/>
                    </a:lnTo>
                    <a:lnTo>
                      <a:pt x="342" y="102"/>
                    </a:lnTo>
                    <a:lnTo>
                      <a:pt x="342" y="120"/>
                    </a:lnTo>
                    <a:lnTo>
                      <a:pt x="336" y="132"/>
                    </a:lnTo>
                    <a:lnTo>
                      <a:pt x="336" y="162"/>
                    </a:lnTo>
                    <a:lnTo>
                      <a:pt x="342" y="168"/>
                    </a:lnTo>
                    <a:lnTo>
                      <a:pt x="348" y="180"/>
                    </a:lnTo>
                    <a:lnTo>
                      <a:pt x="354" y="186"/>
                    </a:lnTo>
                    <a:lnTo>
                      <a:pt x="360" y="186"/>
                    </a:lnTo>
                    <a:lnTo>
                      <a:pt x="372" y="156"/>
                    </a:lnTo>
                    <a:lnTo>
                      <a:pt x="378" y="162"/>
                    </a:lnTo>
                    <a:lnTo>
                      <a:pt x="390" y="168"/>
                    </a:lnTo>
                    <a:lnTo>
                      <a:pt x="396" y="162"/>
                    </a:lnTo>
                    <a:lnTo>
                      <a:pt x="408" y="138"/>
                    </a:lnTo>
                    <a:lnTo>
                      <a:pt x="408" y="126"/>
                    </a:lnTo>
                    <a:lnTo>
                      <a:pt x="396" y="120"/>
                    </a:lnTo>
                    <a:lnTo>
                      <a:pt x="390" y="108"/>
                    </a:lnTo>
                    <a:lnTo>
                      <a:pt x="390" y="90"/>
                    </a:lnTo>
                    <a:lnTo>
                      <a:pt x="396" y="84"/>
                    </a:lnTo>
                    <a:lnTo>
                      <a:pt x="372" y="66"/>
                    </a:lnTo>
                    <a:lnTo>
                      <a:pt x="372" y="60"/>
                    </a:lnTo>
                    <a:lnTo>
                      <a:pt x="366" y="54"/>
                    </a:lnTo>
                    <a:lnTo>
                      <a:pt x="366" y="42"/>
                    </a:lnTo>
                    <a:lnTo>
                      <a:pt x="360" y="30"/>
                    </a:lnTo>
                    <a:lnTo>
                      <a:pt x="348" y="24"/>
                    </a:lnTo>
                    <a:lnTo>
                      <a:pt x="330" y="18"/>
                    </a:lnTo>
                    <a:lnTo>
                      <a:pt x="288" y="18"/>
                    </a:lnTo>
                    <a:lnTo>
                      <a:pt x="282" y="0"/>
                    </a:lnTo>
                    <a:lnTo>
                      <a:pt x="246" y="0"/>
                    </a:lnTo>
                    <a:lnTo>
                      <a:pt x="234" y="6"/>
                    </a:lnTo>
                    <a:lnTo>
                      <a:pt x="228" y="12"/>
                    </a:lnTo>
                    <a:lnTo>
                      <a:pt x="222" y="24"/>
                    </a:lnTo>
                    <a:lnTo>
                      <a:pt x="210" y="36"/>
                    </a:lnTo>
                    <a:lnTo>
                      <a:pt x="204" y="36"/>
                    </a:lnTo>
                    <a:lnTo>
                      <a:pt x="198" y="30"/>
                    </a:lnTo>
                    <a:lnTo>
                      <a:pt x="192" y="30"/>
                    </a:lnTo>
                    <a:lnTo>
                      <a:pt x="168" y="42"/>
                    </a:lnTo>
                    <a:lnTo>
                      <a:pt x="144" y="66"/>
                    </a:lnTo>
                    <a:lnTo>
                      <a:pt x="132" y="72"/>
                    </a:lnTo>
                    <a:lnTo>
                      <a:pt x="120" y="72"/>
                    </a:lnTo>
                    <a:lnTo>
                      <a:pt x="114" y="66"/>
                    </a:lnTo>
                    <a:lnTo>
                      <a:pt x="102" y="60"/>
                    </a:lnTo>
                    <a:lnTo>
                      <a:pt x="90" y="42"/>
                    </a:lnTo>
                    <a:lnTo>
                      <a:pt x="78" y="54"/>
                    </a:lnTo>
                    <a:lnTo>
                      <a:pt x="60" y="54"/>
                    </a:lnTo>
                    <a:lnTo>
                      <a:pt x="48" y="42"/>
                    </a:lnTo>
                    <a:lnTo>
                      <a:pt x="48" y="18"/>
                    </a:lnTo>
                    <a:lnTo>
                      <a:pt x="36" y="6"/>
                    </a:lnTo>
                    <a:lnTo>
                      <a:pt x="24" y="6"/>
                    </a:lnTo>
                    <a:lnTo>
                      <a:pt x="18" y="12"/>
                    </a:lnTo>
                    <a:lnTo>
                      <a:pt x="6" y="12"/>
                    </a:lnTo>
                    <a:lnTo>
                      <a:pt x="0" y="18"/>
                    </a:lnTo>
                    <a:lnTo>
                      <a:pt x="0" y="36"/>
                    </a:lnTo>
                    <a:lnTo>
                      <a:pt x="6" y="42"/>
                    </a:lnTo>
                    <a:lnTo>
                      <a:pt x="6" y="48"/>
                    </a:lnTo>
                    <a:lnTo>
                      <a:pt x="24" y="48"/>
                    </a:lnTo>
                    <a:lnTo>
                      <a:pt x="30" y="54"/>
                    </a:lnTo>
                    <a:lnTo>
                      <a:pt x="12" y="72"/>
                    </a:lnTo>
                    <a:lnTo>
                      <a:pt x="6" y="72"/>
                    </a:lnTo>
                    <a:lnTo>
                      <a:pt x="6" y="96"/>
                    </a:lnTo>
                    <a:lnTo>
                      <a:pt x="0" y="102"/>
                    </a:lnTo>
                    <a:lnTo>
                      <a:pt x="6" y="108"/>
                    </a:lnTo>
                    <a:lnTo>
                      <a:pt x="48" y="102"/>
                    </a:lnTo>
                    <a:lnTo>
                      <a:pt x="60" y="120"/>
                    </a:lnTo>
                    <a:lnTo>
                      <a:pt x="90" y="114"/>
                    </a:lnTo>
                    <a:lnTo>
                      <a:pt x="90" y="126"/>
                    </a:lnTo>
                    <a:lnTo>
                      <a:pt x="84" y="132"/>
                    </a:lnTo>
                    <a:lnTo>
                      <a:pt x="84" y="150"/>
                    </a:lnTo>
                    <a:lnTo>
                      <a:pt x="90" y="156"/>
                    </a:lnTo>
                    <a:lnTo>
                      <a:pt x="108" y="156"/>
                    </a:lnTo>
                    <a:lnTo>
                      <a:pt x="114" y="150"/>
                    </a:lnTo>
                    <a:lnTo>
                      <a:pt x="120" y="150"/>
                    </a:lnTo>
                    <a:lnTo>
                      <a:pt x="120" y="132"/>
                    </a:lnTo>
                    <a:lnTo>
                      <a:pt x="138" y="126"/>
                    </a:lnTo>
                    <a:lnTo>
                      <a:pt x="138" y="150"/>
                    </a:lnTo>
                    <a:lnTo>
                      <a:pt x="144" y="168"/>
                    </a:lnTo>
                    <a:lnTo>
                      <a:pt x="144" y="180"/>
                    </a:lnTo>
                    <a:lnTo>
                      <a:pt x="150" y="192"/>
                    </a:lnTo>
                    <a:lnTo>
                      <a:pt x="156" y="198"/>
                    </a:lnTo>
                    <a:lnTo>
                      <a:pt x="162" y="198"/>
                    </a:lnTo>
                    <a:lnTo>
                      <a:pt x="180" y="192"/>
                    </a:lnTo>
                    <a:lnTo>
                      <a:pt x="198" y="174"/>
                    </a:lnTo>
                    <a:lnTo>
                      <a:pt x="204" y="174"/>
                    </a:lnTo>
                    <a:lnTo>
                      <a:pt x="198" y="168"/>
                    </a:lnTo>
                    <a:lnTo>
                      <a:pt x="186" y="162"/>
                    </a:lnTo>
                    <a:lnTo>
                      <a:pt x="180" y="150"/>
                    </a:lnTo>
                    <a:lnTo>
                      <a:pt x="174" y="144"/>
                    </a:lnTo>
                    <a:lnTo>
                      <a:pt x="168" y="132"/>
                    </a:lnTo>
                    <a:lnTo>
                      <a:pt x="162" y="126"/>
                    </a:lnTo>
                    <a:lnTo>
                      <a:pt x="186" y="102"/>
                    </a:lnTo>
                    <a:lnTo>
                      <a:pt x="222" y="84"/>
                    </a:lnTo>
                    <a:lnTo>
                      <a:pt x="228" y="72"/>
                    </a:lnTo>
                    <a:lnTo>
                      <a:pt x="246" y="54"/>
                    </a:lnTo>
                    <a:lnTo>
                      <a:pt x="258" y="48"/>
                    </a:lnTo>
                    <a:lnTo>
                      <a:pt x="276" y="54"/>
                    </a:lnTo>
                    <a:lnTo>
                      <a:pt x="288" y="60"/>
                    </a:lnTo>
                    <a:lnTo>
                      <a:pt x="306" y="6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0" name="Jamaic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A555CFB3-7F0E-4C84-A9FF-7836AF7663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62918" y="413068"/>
                <a:ext cx="55170" cy="18390"/>
              </a:xfrm>
              <a:custGeom>
                <a:avLst/>
                <a:gdLst>
                  <a:gd name="T0" fmla="*/ 2147483647 w 156"/>
                  <a:gd name="T1" fmla="*/ 2147483647 h 54"/>
                  <a:gd name="T2" fmla="*/ 2147483647 w 156"/>
                  <a:gd name="T3" fmla="*/ 2147483647 h 54"/>
                  <a:gd name="T4" fmla="*/ 2147483647 w 156"/>
                  <a:gd name="T5" fmla="*/ 2147483647 h 54"/>
                  <a:gd name="T6" fmla="*/ 2147483647 w 156"/>
                  <a:gd name="T7" fmla="*/ 2147483647 h 54"/>
                  <a:gd name="T8" fmla="*/ 2147483647 w 156"/>
                  <a:gd name="T9" fmla="*/ 2147483647 h 54"/>
                  <a:gd name="T10" fmla="*/ 2147483647 w 156"/>
                  <a:gd name="T11" fmla="*/ 2147483647 h 54"/>
                  <a:gd name="T12" fmla="*/ 2147483647 w 156"/>
                  <a:gd name="T13" fmla="*/ 2147483647 h 54"/>
                  <a:gd name="T14" fmla="*/ 2147483647 w 156"/>
                  <a:gd name="T15" fmla="*/ 2147483647 h 54"/>
                  <a:gd name="T16" fmla="*/ 2147483647 w 156"/>
                  <a:gd name="T17" fmla="*/ 0 h 54"/>
                  <a:gd name="T18" fmla="*/ 2147483647 w 156"/>
                  <a:gd name="T19" fmla="*/ 0 h 54"/>
                  <a:gd name="T20" fmla="*/ 2147483647 w 156"/>
                  <a:gd name="T21" fmla="*/ 2147483647 h 54"/>
                  <a:gd name="T22" fmla="*/ 0 w 156"/>
                  <a:gd name="T23" fmla="*/ 2147483647 h 54"/>
                  <a:gd name="T24" fmla="*/ 2147483647 w 156"/>
                  <a:gd name="T25" fmla="*/ 2147483647 h 54"/>
                  <a:gd name="T26" fmla="*/ 2147483647 w 156"/>
                  <a:gd name="T27" fmla="*/ 2147483647 h 54"/>
                  <a:gd name="T28" fmla="*/ 2147483647 w 156"/>
                  <a:gd name="T29" fmla="*/ 2147483647 h 54"/>
                  <a:gd name="T30" fmla="*/ 2147483647 w 156"/>
                  <a:gd name="T31" fmla="*/ 2147483647 h 54"/>
                  <a:gd name="T32" fmla="*/ 2147483647 w 156"/>
                  <a:gd name="T33" fmla="*/ 2147483647 h 54"/>
                  <a:gd name="T34" fmla="*/ 2147483647 w 156"/>
                  <a:gd name="T35" fmla="*/ 2147483647 h 54"/>
                  <a:gd name="T36" fmla="*/ 2147483647 w 156"/>
                  <a:gd name="T37" fmla="*/ 2147483647 h 5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56"/>
                  <a:gd name="T58" fmla="*/ 0 h 54"/>
                  <a:gd name="T59" fmla="*/ 156 w 156"/>
                  <a:gd name="T60" fmla="*/ 54 h 54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56" h="54">
                    <a:moveTo>
                      <a:pt x="108" y="54"/>
                    </a:moveTo>
                    <a:lnTo>
                      <a:pt x="114" y="36"/>
                    </a:lnTo>
                    <a:lnTo>
                      <a:pt x="156" y="48"/>
                    </a:lnTo>
                    <a:lnTo>
                      <a:pt x="156" y="42"/>
                    </a:lnTo>
                    <a:lnTo>
                      <a:pt x="150" y="36"/>
                    </a:lnTo>
                    <a:lnTo>
                      <a:pt x="144" y="24"/>
                    </a:lnTo>
                    <a:lnTo>
                      <a:pt x="126" y="6"/>
                    </a:lnTo>
                    <a:lnTo>
                      <a:pt x="84" y="6"/>
                    </a:lnTo>
                    <a:lnTo>
                      <a:pt x="66" y="0"/>
                    </a:lnTo>
                    <a:lnTo>
                      <a:pt x="24" y="0"/>
                    </a:lnTo>
                    <a:lnTo>
                      <a:pt x="12" y="6"/>
                    </a:lnTo>
                    <a:lnTo>
                      <a:pt x="0" y="6"/>
                    </a:lnTo>
                    <a:lnTo>
                      <a:pt x="6" y="18"/>
                    </a:lnTo>
                    <a:lnTo>
                      <a:pt x="18" y="24"/>
                    </a:lnTo>
                    <a:lnTo>
                      <a:pt x="24" y="36"/>
                    </a:lnTo>
                    <a:lnTo>
                      <a:pt x="36" y="42"/>
                    </a:lnTo>
                    <a:lnTo>
                      <a:pt x="60" y="42"/>
                    </a:lnTo>
                    <a:lnTo>
                      <a:pt x="78" y="48"/>
                    </a:lnTo>
                    <a:lnTo>
                      <a:pt x="108" y="54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1" name="Haiti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543ED83-49EB-450E-9293-3A03D61ECC6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69015" y="369215"/>
                <a:ext cx="70731" cy="56585"/>
              </a:xfrm>
              <a:custGeom>
                <a:avLst/>
                <a:gdLst>
                  <a:gd name="T0" fmla="*/ 2147483647 w 198"/>
                  <a:gd name="T1" fmla="*/ 2147483647 h 156"/>
                  <a:gd name="T2" fmla="*/ 2147483647 w 198"/>
                  <a:gd name="T3" fmla="*/ 2147483647 h 156"/>
                  <a:gd name="T4" fmla="*/ 2147483647 w 198"/>
                  <a:gd name="T5" fmla="*/ 2147483647 h 156"/>
                  <a:gd name="T6" fmla="*/ 2147483647 w 198"/>
                  <a:gd name="T7" fmla="*/ 2147483647 h 156"/>
                  <a:gd name="T8" fmla="*/ 2147483647 w 198"/>
                  <a:gd name="T9" fmla="*/ 2147483647 h 156"/>
                  <a:gd name="T10" fmla="*/ 2147483647 w 198"/>
                  <a:gd name="T11" fmla="*/ 2147483647 h 156"/>
                  <a:gd name="T12" fmla="*/ 2147483647 w 198"/>
                  <a:gd name="T13" fmla="*/ 2147483647 h 156"/>
                  <a:gd name="T14" fmla="*/ 2147483647 w 198"/>
                  <a:gd name="T15" fmla="*/ 2147483647 h 156"/>
                  <a:gd name="T16" fmla="*/ 2147483647 w 198"/>
                  <a:gd name="T17" fmla="*/ 2147483647 h 156"/>
                  <a:gd name="T18" fmla="*/ 2147483647 w 198"/>
                  <a:gd name="T19" fmla="*/ 2147483647 h 156"/>
                  <a:gd name="T20" fmla="*/ 2147483647 w 198"/>
                  <a:gd name="T21" fmla="*/ 2147483647 h 156"/>
                  <a:gd name="T22" fmla="*/ 2147483647 w 198"/>
                  <a:gd name="T23" fmla="*/ 2147483647 h 156"/>
                  <a:gd name="T24" fmla="*/ 2147483647 w 198"/>
                  <a:gd name="T25" fmla="*/ 2147483647 h 156"/>
                  <a:gd name="T26" fmla="*/ 2147483647 w 198"/>
                  <a:gd name="T27" fmla="*/ 2147483647 h 156"/>
                  <a:gd name="T28" fmla="*/ 2147483647 w 198"/>
                  <a:gd name="T29" fmla="*/ 2147483647 h 156"/>
                  <a:gd name="T30" fmla="*/ 2147483647 w 198"/>
                  <a:gd name="T31" fmla="*/ 2147483647 h 156"/>
                  <a:gd name="T32" fmla="*/ 2147483647 w 198"/>
                  <a:gd name="T33" fmla="*/ 2147483647 h 156"/>
                  <a:gd name="T34" fmla="*/ 2147483647 w 198"/>
                  <a:gd name="T35" fmla="*/ 0 h 156"/>
                  <a:gd name="T36" fmla="*/ 2147483647 w 198"/>
                  <a:gd name="T37" fmla="*/ 0 h 156"/>
                  <a:gd name="T38" fmla="*/ 2147483647 w 198"/>
                  <a:gd name="T39" fmla="*/ 2147483647 h 156"/>
                  <a:gd name="T40" fmla="*/ 2147483647 w 198"/>
                  <a:gd name="T41" fmla="*/ 2147483647 h 156"/>
                  <a:gd name="T42" fmla="*/ 2147483647 w 198"/>
                  <a:gd name="T43" fmla="*/ 2147483647 h 156"/>
                  <a:gd name="T44" fmla="*/ 2147483647 w 198"/>
                  <a:gd name="T45" fmla="*/ 2147483647 h 156"/>
                  <a:gd name="T46" fmla="*/ 2147483647 w 198"/>
                  <a:gd name="T47" fmla="*/ 2147483647 h 156"/>
                  <a:gd name="T48" fmla="*/ 2147483647 w 198"/>
                  <a:gd name="T49" fmla="*/ 2147483647 h 156"/>
                  <a:gd name="T50" fmla="*/ 2147483647 w 198"/>
                  <a:gd name="T51" fmla="*/ 2147483647 h 156"/>
                  <a:gd name="T52" fmla="*/ 2147483647 w 198"/>
                  <a:gd name="T53" fmla="*/ 2147483647 h 156"/>
                  <a:gd name="T54" fmla="*/ 2147483647 w 198"/>
                  <a:gd name="T55" fmla="*/ 2147483647 h 156"/>
                  <a:gd name="T56" fmla="*/ 2147483647 w 198"/>
                  <a:gd name="T57" fmla="*/ 2147483647 h 156"/>
                  <a:gd name="T58" fmla="*/ 2147483647 w 198"/>
                  <a:gd name="T59" fmla="*/ 2147483647 h 156"/>
                  <a:gd name="T60" fmla="*/ 2147483647 w 198"/>
                  <a:gd name="T61" fmla="*/ 2147483647 h 156"/>
                  <a:gd name="T62" fmla="*/ 2147483647 w 198"/>
                  <a:gd name="T63" fmla="*/ 2147483647 h 156"/>
                  <a:gd name="T64" fmla="*/ 2147483647 w 198"/>
                  <a:gd name="T65" fmla="*/ 2147483647 h 156"/>
                  <a:gd name="T66" fmla="*/ 2147483647 w 198"/>
                  <a:gd name="T67" fmla="*/ 2147483647 h 156"/>
                  <a:gd name="T68" fmla="*/ 2147483647 w 198"/>
                  <a:gd name="T69" fmla="*/ 2147483647 h 156"/>
                  <a:gd name="T70" fmla="*/ 2147483647 w 198"/>
                  <a:gd name="T71" fmla="*/ 2147483647 h 156"/>
                  <a:gd name="T72" fmla="*/ 2147483647 w 198"/>
                  <a:gd name="T73" fmla="*/ 2147483647 h 156"/>
                  <a:gd name="T74" fmla="*/ 2147483647 w 198"/>
                  <a:gd name="T75" fmla="*/ 2147483647 h 156"/>
                  <a:gd name="T76" fmla="*/ 2147483647 w 198"/>
                  <a:gd name="T77" fmla="*/ 2147483647 h 156"/>
                  <a:gd name="T78" fmla="*/ 2147483647 w 198"/>
                  <a:gd name="T79" fmla="*/ 2147483647 h 156"/>
                  <a:gd name="T80" fmla="*/ 2147483647 w 198"/>
                  <a:gd name="T81" fmla="*/ 2147483647 h 156"/>
                  <a:gd name="T82" fmla="*/ 0 w 198"/>
                  <a:gd name="T83" fmla="*/ 2147483647 h 156"/>
                  <a:gd name="T84" fmla="*/ 0 w 198"/>
                  <a:gd name="T85" fmla="*/ 2147483647 h 156"/>
                  <a:gd name="T86" fmla="*/ 2147483647 w 198"/>
                  <a:gd name="T87" fmla="*/ 2147483647 h 156"/>
                  <a:gd name="T88" fmla="*/ 2147483647 w 198"/>
                  <a:gd name="T89" fmla="*/ 2147483647 h 156"/>
                  <a:gd name="T90" fmla="*/ 2147483647 w 198"/>
                  <a:gd name="T91" fmla="*/ 2147483647 h 156"/>
                  <a:gd name="T92" fmla="*/ 2147483647 w 198"/>
                  <a:gd name="T93" fmla="*/ 2147483647 h 156"/>
                  <a:gd name="T94" fmla="*/ 2147483647 w 198"/>
                  <a:gd name="T95" fmla="*/ 2147483647 h 156"/>
                  <a:gd name="T96" fmla="*/ 2147483647 w 198"/>
                  <a:gd name="T97" fmla="*/ 2147483647 h 156"/>
                  <a:gd name="T98" fmla="*/ 2147483647 w 198"/>
                  <a:gd name="T99" fmla="*/ 2147483647 h 156"/>
                  <a:gd name="T100" fmla="*/ 2147483647 w 198"/>
                  <a:gd name="T101" fmla="*/ 2147483647 h 156"/>
                  <a:gd name="T102" fmla="*/ 2147483647 w 198"/>
                  <a:gd name="T103" fmla="*/ 2147483647 h 156"/>
                  <a:gd name="T104" fmla="*/ 2147483647 w 198"/>
                  <a:gd name="T105" fmla="*/ 2147483647 h 156"/>
                  <a:gd name="T106" fmla="*/ 2147483647 w 198"/>
                  <a:gd name="T107" fmla="*/ 2147483647 h 156"/>
                  <a:gd name="T108" fmla="*/ 2147483647 w 198"/>
                  <a:gd name="T109" fmla="*/ 2147483647 h 156"/>
                  <a:gd name="T110" fmla="*/ 2147483647 w 198"/>
                  <a:gd name="T111" fmla="*/ 2147483647 h 156"/>
                  <a:gd name="T112" fmla="*/ 2147483647 w 198"/>
                  <a:gd name="T113" fmla="*/ 2147483647 h 15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98"/>
                  <a:gd name="T172" fmla="*/ 0 h 156"/>
                  <a:gd name="T173" fmla="*/ 198 w 198"/>
                  <a:gd name="T174" fmla="*/ 156 h 15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98" h="156">
                    <a:moveTo>
                      <a:pt x="168" y="114"/>
                    </a:moveTo>
                    <a:lnTo>
                      <a:pt x="168" y="108"/>
                    </a:lnTo>
                    <a:lnTo>
                      <a:pt x="174" y="102"/>
                    </a:lnTo>
                    <a:lnTo>
                      <a:pt x="180" y="90"/>
                    </a:lnTo>
                    <a:lnTo>
                      <a:pt x="180" y="78"/>
                    </a:lnTo>
                    <a:lnTo>
                      <a:pt x="186" y="72"/>
                    </a:lnTo>
                    <a:lnTo>
                      <a:pt x="192" y="60"/>
                    </a:lnTo>
                    <a:lnTo>
                      <a:pt x="198" y="54"/>
                    </a:lnTo>
                    <a:lnTo>
                      <a:pt x="198" y="42"/>
                    </a:lnTo>
                    <a:lnTo>
                      <a:pt x="186" y="6"/>
                    </a:lnTo>
                    <a:lnTo>
                      <a:pt x="180" y="12"/>
                    </a:lnTo>
                    <a:lnTo>
                      <a:pt x="180" y="18"/>
                    </a:lnTo>
                    <a:lnTo>
                      <a:pt x="174" y="18"/>
                    </a:lnTo>
                    <a:lnTo>
                      <a:pt x="168" y="12"/>
                    </a:lnTo>
                    <a:lnTo>
                      <a:pt x="156" y="12"/>
                    </a:lnTo>
                    <a:lnTo>
                      <a:pt x="144" y="6"/>
                    </a:lnTo>
                    <a:lnTo>
                      <a:pt x="126" y="6"/>
                    </a:lnTo>
                    <a:lnTo>
                      <a:pt x="114" y="0"/>
                    </a:lnTo>
                    <a:lnTo>
                      <a:pt x="84" y="0"/>
                    </a:lnTo>
                    <a:lnTo>
                      <a:pt x="72" y="6"/>
                    </a:lnTo>
                    <a:lnTo>
                      <a:pt x="66" y="12"/>
                    </a:lnTo>
                    <a:lnTo>
                      <a:pt x="66" y="18"/>
                    </a:lnTo>
                    <a:lnTo>
                      <a:pt x="72" y="24"/>
                    </a:lnTo>
                    <a:lnTo>
                      <a:pt x="108" y="24"/>
                    </a:lnTo>
                    <a:lnTo>
                      <a:pt x="114" y="30"/>
                    </a:lnTo>
                    <a:lnTo>
                      <a:pt x="120" y="42"/>
                    </a:lnTo>
                    <a:lnTo>
                      <a:pt x="126" y="48"/>
                    </a:lnTo>
                    <a:lnTo>
                      <a:pt x="114" y="54"/>
                    </a:lnTo>
                    <a:lnTo>
                      <a:pt x="108" y="60"/>
                    </a:lnTo>
                    <a:lnTo>
                      <a:pt x="108" y="72"/>
                    </a:lnTo>
                    <a:lnTo>
                      <a:pt x="114" y="84"/>
                    </a:lnTo>
                    <a:lnTo>
                      <a:pt x="114" y="96"/>
                    </a:lnTo>
                    <a:lnTo>
                      <a:pt x="120" y="102"/>
                    </a:lnTo>
                    <a:lnTo>
                      <a:pt x="114" y="108"/>
                    </a:lnTo>
                    <a:lnTo>
                      <a:pt x="96" y="108"/>
                    </a:lnTo>
                    <a:lnTo>
                      <a:pt x="78" y="102"/>
                    </a:lnTo>
                    <a:lnTo>
                      <a:pt x="66" y="102"/>
                    </a:lnTo>
                    <a:lnTo>
                      <a:pt x="54" y="96"/>
                    </a:lnTo>
                    <a:lnTo>
                      <a:pt x="36" y="96"/>
                    </a:lnTo>
                    <a:lnTo>
                      <a:pt x="24" y="102"/>
                    </a:lnTo>
                    <a:lnTo>
                      <a:pt x="6" y="102"/>
                    </a:lnTo>
                    <a:lnTo>
                      <a:pt x="0" y="108"/>
                    </a:lnTo>
                    <a:lnTo>
                      <a:pt x="0" y="114"/>
                    </a:lnTo>
                    <a:lnTo>
                      <a:pt x="6" y="120"/>
                    </a:lnTo>
                    <a:lnTo>
                      <a:pt x="12" y="132"/>
                    </a:lnTo>
                    <a:lnTo>
                      <a:pt x="24" y="138"/>
                    </a:lnTo>
                    <a:lnTo>
                      <a:pt x="30" y="150"/>
                    </a:lnTo>
                    <a:lnTo>
                      <a:pt x="36" y="156"/>
                    </a:lnTo>
                    <a:lnTo>
                      <a:pt x="42" y="156"/>
                    </a:lnTo>
                    <a:lnTo>
                      <a:pt x="48" y="150"/>
                    </a:lnTo>
                    <a:lnTo>
                      <a:pt x="54" y="138"/>
                    </a:lnTo>
                    <a:lnTo>
                      <a:pt x="60" y="132"/>
                    </a:lnTo>
                    <a:lnTo>
                      <a:pt x="138" y="132"/>
                    </a:lnTo>
                    <a:lnTo>
                      <a:pt x="156" y="126"/>
                    </a:lnTo>
                    <a:lnTo>
                      <a:pt x="168" y="126"/>
                    </a:lnTo>
                    <a:lnTo>
                      <a:pt x="180" y="144"/>
                    </a:lnTo>
                    <a:lnTo>
                      <a:pt x="168" y="114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2" name="Guyane (French Guiana)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FADD2915-54C0-494E-8149-1791B1DF2B2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40083" y="778039"/>
                <a:ext cx="73560" cy="106097"/>
              </a:xfrm>
              <a:custGeom>
                <a:avLst/>
                <a:gdLst>
                  <a:gd name="T0" fmla="*/ 2147483647 w 52"/>
                  <a:gd name="T1" fmla="*/ 2147483647 h 76"/>
                  <a:gd name="T2" fmla="*/ 2147483647 w 52"/>
                  <a:gd name="T3" fmla="*/ 2147483647 h 76"/>
                  <a:gd name="T4" fmla="*/ 2147483647 w 52"/>
                  <a:gd name="T5" fmla="*/ 2147483647 h 76"/>
                  <a:gd name="T6" fmla="*/ 2147483647 w 52"/>
                  <a:gd name="T7" fmla="*/ 2147483647 h 76"/>
                  <a:gd name="T8" fmla="*/ 2147483647 w 52"/>
                  <a:gd name="T9" fmla="*/ 2147483647 h 76"/>
                  <a:gd name="T10" fmla="*/ 2147483647 w 52"/>
                  <a:gd name="T11" fmla="*/ 2147483647 h 76"/>
                  <a:gd name="T12" fmla="*/ 2147483647 w 52"/>
                  <a:gd name="T13" fmla="*/ 2147483647 h 76"/>
                  <a:gd name="T14" fmla="*/ 2147483647 w 52"/>
                  <a:gd name="T15" fmla="*/ 2147483647 h 76"/>
                  <a:gd name="T16" fmla="*/ 2147483647 w 52"/>
                  <a:gd name="T17" fmla="*/ 2147483647 h 76"/>
                  <a:gd name="T18" fmla="*/ 2147483647 w 52"/>
                  <a:gd name="T19" fmla="*/ 2147483647 h 76"/>
                  <a:gd name="T20" fmla="*/ 2147483647 w 52"/>
                  <a:gd name="T21" fmla="*/ 2147483647 h 76"/>
                  <a:gd name="T22" fmla="*/ 2147483647 w 52"/>
                  <a:gd name="T23" fmla="*/ 0 h 76"/>
                  <a:gd name="T24" fmla="*/ 2147483647 w 52"/>
                  <a:gd name="T25" fmla="*/ 2147483647 h 76"/>
                  <a:gd name="T26" fmla="*/ 2147483647 w 52"/>
                  <a:gd name="T27" fmla="*/ 2147483647 h 76"/>
                  <a:gd name="T28" fmla="*/ 2147483647 w 52"/>
                  <a:gd name="T29" fmla="*/ 2147483647 h 76"/>
                  <a:gd name="T30" fmla="*/ 2147483647 w 52"/>
                  <a:gd name="T31" fmla="*/ 2147483647 h 76"/>
                  <a:gd name="T32" fmla="*/ 2147483647 w 52"/>
                  <a:gd name="T33" fmla="*/ 2147483647 h 76"/>
                  <a:gd name="T34" fmla="*/ 2147483647 w 52"/>
                  <a:gd name="T35" fmla="*/ 2147483647 h 76"/>
                  <a:gd name="T36" fmla="*/ 2147483647 w 52"/>
                  <a:gd name="T37" fmla="*/ 2147483647 h 76"/>
                  <a:gd name="T38" fmla="*/ 2147483647 w 52"/>
                  <a:gd name="T39" fmla="*/ 2147483647 h 76"/>
                  <a:gd name="T40" fmla="*/ 2147483647 w 52"/>
                  <a:gd name="T41" fmla="*/ 2147483647 h 76"/>
                  <a:gd name="T42" fmla="*/ 2147483647 w 52"/>
                  <a:gd name="T43" fmla="*/ 2147483647 h 76"/>
                  <a:gd name="T44" fmla="*/ 2147483647 w 52"/>
                  <a:gd name="T45" fmla="*/ 2147483647 h 76"/>
                  <a:gd name="T46" fmla="*/ 2147483647 w 52"/>
                  <a:gd name="T47" fmla="*/ 2147483647 h 76"/>
                  <a:gd name="T48" fmla="*/ 2147483647 w 52"/>
                  <a:gd name="T49" fmla="*/ 2147483647 h 76"/>
                  <a:gd name="T50" fmla="*/ 2147483647 w 52"/>
                  <a:gd name="T51" fmla="*/ 2147483647 h 76"/>
                  <a:gd name="T52" fmla="*/ 2147483647 w 52"/>
                  <a:gd name="T53" fmla="*/ 2147483647 h 76"/>
                  <a:gd name="T54" fmla="*/ 2147483647 w 52"/>
                  <a:gd name="T55" fmla="*/ 2147483647 h 76"/>
                  <a:gd name="T56" fmla="*/ 2147483647 w 52"/>
                  <a:gd name="T57" fmla="*/ 2147483647 h 76"/>
                  <a:gd name="T58" fmla="*/ 2147483647 w 52"/>
                  <a:gd name="T59" fmla="*/ 2147483647 h 76"/>
                  <a:gd name="T60" fmla="*/ 2147483647 w 52"/>
                  <a:gd name="T61" fmla="*/ 2147483647 h 76"/>
                  <a:gd name="T62" fmla="*/ 2147483647 w 52"/>
                  <a:gd name="T63" fmla="*/ 2147483647 h 76"/>
                  <a:gd name="T64" fmla="*/ 0 w 52"/>
                  <a:gd name="T65" fmla="*/ 2147483647 h 76"/>
                  <a:gd name="T66" fmla="*/ 0 w 52"/>
                  <a:gd name="T67" fmla="*/ 2147483647 h 76"/>
                  <a:gd name="T68" fmla="*/ 2147483647 w 52"/>
                  <a:gd name="T69" fmla="*/ 2147483647 h 76"/>
                  <a:gd name="T70" fmla="*/ 2147483647 w 52"/>
                  <a:gd name="T71" fmla="*/ 2147483647 h 76"/>
                  <a:gd name="T72" fmla="*/ 2147483647 w 52"/>
                  <a:gd name="T73" fmla="*/ 2147483647 h 76"/>
                  <a:gd name="T74" fmla="*/ 2147483647 w 52"/>
                  <a:gd name="T75" fmla="*/ 2147483647 h 76"/>
                  <a:gd name="T76" fmla="*/ 2147483647 w 52"/>
                  <a:gd name="T77" fmla="*/ 2147483647 h 76"/>
                  <a:gd name="T78" fmla="*/ 2147483647 w 52"/>
                  <a:gd name="T79" fmla="*/ 2147483647 h 76"/>
                  <a:gd name="T80" fmla="*/ 2147483647 w 52"/>
                  <a:gd name="T81" fmla="*/ 2147483647 h 76"/>
                  <a:gd name="T82" fmla="*/ 2147483647 w 52"/>
                  <a:gd name="T83" fmla="*/ 2147483647 h 76"/>
                  <a:gd name="T84" fmla="*/ 2147483647 w 52"/>
                  <a:gd name="T85" fmla="*/ 2147483647 h 76"/>
                  <a:gd name="T86" fmla="*/ 2147483647 w 52"/>
                  <a:gd name="T87" fmla="*/ 2147483647 h 76"/>
                  <a:gd name="T88" fmla="*/ 2147483647 w 52"/>
                  <a:gd name="T89" fmla="*/ 2147483647 h 76"/>
                  <a:gd name="T90" fmla="*/ 2147483647 w 52"/>
                  <a:gd name="T91" fmla="*/ 2147483647 h 76"/>
                  <a:gd name="T92" fmla="*/ 2147483647 w 52"/>
                  <a:gd name="T93" fmla="*/ 2147483647 h 76"/>
                  <a:gd name="T94" fmla="*/ 2147483647 w 52"/>
                  <a:gd name="T95" fmla="*/ 2147483647 h 76"/>
                  <a:gd name="T96" fmla="*/ 2147483647 w 52"/>
                  <a:gd name="T97" fmla="*/ 2147483647 h 76"/>
                  <a:gd name="T98" fmla="*/ 2147483647 w 52"/>
                  <a:gd name="T99" fmla="*/ 2147483647 h 76"/>
                  <a:gd name="T100" fmla="*/ 2147483647 w 52"/>
                  <a:gd name="T101" fmla="*/ 2147483647 h 76"/>
                  <a:gd name="T102" fmla="*/ 2147483647 w 52"/>
                  <a:gd name="T103" fmla="*/ 2147483647 h 76"/>
                  <a:gd name="T104" fmla="*/ 2147483647 w 52"/>
                  <a:gd name="T105" fmla="*/ 2147483647 h 76"/>
                  <a:gd name="T106" fmla="*/ 2147483647 w 52"/>
                  <a:gd name="T107" fmla="*/ 2147483647 h 76"/>
                  <a:gd name="T108" fmla="*/ 2147483647 w 52"/>
                  <a:gd name="T109" fmla="*/ 2147483647 h 76"/>
                  <a:gd name="T110" fmla="*/ 2147483647 w 52"/>
                  <a:gd name="T111" fmla="*/ 2147483647 h 76"/>
                  <a:gd name="T112" fmla="*/ 2147483647 w 52"/>
                  <a:gd name="T113" fmla="*/ 2147483647 h 76"/>
                  <a:gd name="T114" fmla="*/ 2147483647 w 52"/>
                  <a:gd name="T115" fmla="*/ 2147483647 h 7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52"/>
                  <a:gd name="T175" fmla="*/ 0 h 76"/>
                  <a:gd name="T176" fmla="*/ 52 w 52"/>
                  <a:gd name="T177" fmla="*/ 76 h 7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52" h="76">
                    <a:moveTo>
                      <a:pt x="52" y="32"/>
                    </a:moveTo>
                    <a:lnTo>
                      <a:pt x="50" y="26"/>
                    </a:lnTo>
                    <a:lnTo>
                      <a:pt x="48" y="24"/>
                    </a:lnTo>
                    <a:lnTo>
                      <a:pt x="46" y="22"/>
                    </a:lnTo>
                    <a:lnTo>
                      <a:pt x="46" y="20"/>
                    </a:lnTo>
                    <a:lnTo>
                      <a:pt x="40" y="20"/>
                    </a:lnTo>
                    <a:lnTo>
                      <a:pt x="32" y="6"/>
                    </a:lnTo>
                    <a:lnTo>
                      <a:pt x="24" y="6"/>
                    </a:lnTo>
                    <a:lnTo>
                      <a:pt x="22" y="4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2" y="4"/>
                    </a:lnTo>
                    <a:lnTo>
                      <a:pt x="12" y="10"/>
                    </a:lnTo>
                    <a:lnTo>
                      <a:pt x="10" y="10"/>
                    </a:lnTo>
                    <a:lnTo>
                      <a:pt x="8" y="12"/>
                    </a:lnTo>
                    <a:lnTo>
                      <a:pt x="6" y="14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2" y="28"/>
                    </a:lnTo>
                    <a:lnTo>
                      <a:pt x="4" y="32"/>
                    </a:lnTo>
                    <a:lnTo>
                      <a:pt x="4" y="36"/>
                    </a:lnTo>
                    <a:lnTo>
                      <a:pt x="6" y="40"/>
                    </a:lnTo>
                    <a:lnTo>
                      <a:pt x="10" y="44"/>
                    </a:lnTo>
                    <a:lnTo>
                      <a:pt x="12" y="46"/>
                    </a:lnTo>
                    <a:lnTo>
                      <a:pt x="12" y="48"/>
                    </a:lnTo>
                    <a:lnTo>
                      <a:pt x="6" y="54"/>
                    </a:lnTo>
                    <a:lnTo>
                      <a:pt x="8" y="62"/>
                    </a:lnTo>
                    <a:lnTo>
                      <a:pt x="6" y="64"/>
                    </a:lnTo>
                    <a:lnTo>
                      <a:pt x="4" y="64"/>
                    </a:lnTo>
                    <a:lnTo>
                      <a:pt x="4" y="66"/>
                    </a:lnTo>
                    <a:lnTo>
                      <a:pt x="2" y="68"/>
                    </a:lnTo>
                    <a:lnTo>
                      <a:pt x="0" y="72"/>
                    </a:lnTo>
                    <a:lnTo>
                      <a:pt x="4" y="76"/>
                    </a:lnTo>
                    <a:lnTo>
                      <a:pt x="10" y="76"/>
                    </a:lnTo>
                    <a:lnTo>
                      <a:pt x="12" y="74"/>
                    </a:lnTo>
                    <a:lnTo>
                      <a:pt x="12" y="72"/>
                    </a:lnTo>
                    <a:lnTo>
                      <a:pt x="14" y="72"/>
                    </a:lnTo>
                    <a:lnTo>
                      <a:pt x="16" y="72"/>
                    </a:lnTo>
                    <a:lnTo>
                      <a:pt x="18" y="72"/>
                    </a:lnTo>
                    <a:lnTo>
                      <a:pt x="20" y="72"/>
                    </a:lnTo>
                    <a:lnTo>
                      <a:pt x="22" y="72"/>
                    </a:lnTo>
                    <a:lnTo>
                      <a:pt x="26" y="74"/>
                    </a:lnTo>
                    <a:lnTo>
                      <a:pt x="30" y="74"/>
                    </a:lnTo>
                    <a:lnTo>
                      <a:pt x="32" y="72"/>
                    </a:lnTo>
                    <a:lnTo>
                      <a:pt x="40" y="64"/>
                    </a:lnTo>
                    <a:lnTo>
                      <a:pt x="40" y="60"/>
                    </a:lnTo>
                    <a:lnTo>
                      <a:pt x="44" y="50"/>
                    </a:lnTo>
                    <a:lnTo>
                      <a:pt x="46" y="46"/>
                    </a:lnTo>
                    <a:lnTo>
                      <a:pt x="48" y="44"/>
                    </a:lnTo>
                    <a:lnTo>
                      <a:pt x="50" y="42"/>
                    </a:lnTo>
                    <a:lnTo>
                      <a:pt x="50" y="40"/>
                    </a:lnTo>
                    <a:lnTo>
                      <a:pt x="52" y="38"/>
                    </a:lnTo>
                    <a:lnTo>
                      <a:pt x="52" y="36"/>
                    </a:lnTo>
                    <a:lnTo>
                      <a:pt x="52" y="34"/>
                    </a:lnTo>
                    <a:lnTo>
                      <a:pt x="52" y="3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3" name="Guyan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2A4A6391-4507-44D5-9B9B-5B5EF8F154B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68914" y="700235"/>
                <a:ext cx="115998" cy="209363"/>
              </a:xfrm>
              <a:custGeom>
                <a:avLst/>
                <a:gdLst>
                  <a:gd name="T0" fmla="*/ 2147483647 w 324"/>
                  <a:gd name="T1" fmla="*/ 2147483647 h 582"/>
                  <a:gd name="T2" fmla="*/ 2147483647 w 324"/>
                  <a:gd name="T3" fmla="*/ 2147483647 h 582"/>
                  <a:gd name="T4" fmla="*/ 2147483647 w 324"/>
                  <a:gd name="T5" fmla="*/ 2147483647 h 582"/>
                  <a:gd name="T6" fmla="*/ 2147483647 w 324"/>
                  <a:gd name="T7" fmla="*/ 2147483647 h 582"/>
                  <a:gd name="T8" fmla="*/ 2147483647 w 324"/>
                  <a:gd name="T9" fmla="*/ 2147483647 h 582"/>
                  <a:gd name="T10" fmla="*/ 2147483647 w 324"/>
                  <a:gd name="T11" fmla="*/ 2147483647 h 582"/>
                  <a:gd name="T12" fmla="*/ 2147483647 w 324"/>
                  <a:gd name="T13" fmla="*/ 2147483647 h 582"/>
                  <a:gd name="T14" fmla="*/ 2147483647 w 324"/>
                  <a:gd name="T15" fmla="*/ 2147483647 h 582"/>
                  <a:gd name="T16" fmla="*/ 0 w 324"/>
                  <a:gd name="T17" fmla="*/ 2147483647 h 582"/>
                  <a:gd name="T18" fmla="*/ 2147483647 w 324"/>
                  <a:gd name="T19" fmla="*/ 2147483647 h 582"/>
                  <a:gd name="T20" fmla="*/ 2147483647 w 324"/>
                  <a:gd name="T21" fmla="*/ 2147483647 h 582"/>
                  <a:gd name="T22" fmla="*/ 2147483647 w 324"/>
                  <a:gd name="T23" fmla="*/ 2147483647 h 582"/>
                  <a:gd name="T24" fmla="*/ 2147483647 w 324"/>
                  <a:gd name="T25" fmla="*/ 2147483647 h 582"/>
                  <a:gd name="T26" fmla="*/ 2147483647 w 324"/>
                  <a:gd name="T27" fmla="*/ 2147483647 h 582"/>
                  <a:gd name="T28" fmla="*/ 2147483647 w 324"/>
                  <a:gd name="T29" fmla="*/ 2147483647 h 582"/>
                  <a:gd name="T30" fmla="*/ 2147483647 w 324"/>
                  <a:gd name="T31" fmla="*/ 2147483647 h 582"/>
                  <a:gd name="T32" fmla="*/ 2147483647 w 324"/>
                  <a:gd name="T33" fmla="*/ 2147483647 h 582"/>
                  <a:gd name="T34" fmla="*/ 2147483647 w 324"/>
                  <a:gd name="T35" fmla="*/ 2147483647 h 582"/>
                  <a:gd name="T36" fmla="*/ 2147483647 w 324"/>
                  <a:gd name="T37" fmla="*/ 2147483647 h 582"/>
                  <a:gd name="T38" fmla="*/ 2147483647 w 324"/>
                  <a:gd name="T39" fmla="*/ 2147483647 h 582"/>
                  <a:gd name="T40" fmla="*/ 2147483647 w 324"/>
                  <a:gd name="T41" fmla="*/ 2147483647 h 582"/>
                  <a:gd name="T42" fmla="*/ 2147483647 w 324"/>
                  <a:gd name="T43" fmla="*/ 2147483647 h 582"/>
                  <a:gd name="T44" fmla="*/ 2147483647 w 324"/>
                  <a:gd name="T45" fmla="*/ 2147483647 h 582"/>
                  <a:gd name="T46" fmla="*/ 2147483647 w 324"/>
                  <a:gd name="T47" fmla="*/ 2147483647 h 582"/>
                  <a:gd name="T48" fmla="*/ 2147483647 w 324"/>
                  <a:gd name="T49" fmla="*/ 2147483647 h 582"/>
                  <a:gd name="T50" fmla="*/ 2147483647 w 324"/>
                  <a:gd name="T51" fmla="*/ 2147483647 h 582"/>
                  <a:gd name="T52" fmla="*/ 2147483647 w 324"/>
                  <a:gd name="T53" fmla="*/ 2147483647 h 582"/>
                  <a:gd name="T54" fmla="*/ 2147483647 w 324"/>
                  <a:gd name="T55" fmla="*/ 2147483647 h 582"/>
                  <a:gd name="T56" fmla="*/ 2147483647 w 324"/>
                  <a:gd name="T57" fmla="*/ 2147483647 h 582"/>
                  <a:gd name="T58" fmla="*/ 2147483647 w 324"/>
                  <a:gd name="T59" fmla="*/ 2147483647 h 582"/>
                  <a:gd name="T60" fmla="*/ 2147483647 w 324"/>
                  <a:gd name="T61" fmla="*/ 2147483647 h 582"/>
                  <a:gd name="T62" fmla="*/ 2147483647 w 324"/>
                  <a:gd name="T63" fmla="*/ 2147483647 h 582"/>
                  <a:gd name="T64" fmla="*/ 2147483647 w 324"/>
                  <a:gd name="T65" fmla="*/ 2147483647 h 582"/>
                  <a:gd name="T66" fmla="*/ 2147483647 w 324"/>
                  <a:gd name="T67" fmla="*/ 2147483647 h 582"/>
                  <a:gd name="T68" fmla="*/ 2147483647 w 324"/>
                  <a:gd name="T69" fmla="*/ 2147483647 h 582"/>
                  <a:gd name="T70" fmla="*/ 2147483647 w 324"/>
                  <a:gd name="T71" fmla="*/ 2147483647 h 582"/>
                  <a:gd name="T72" fmla="*/ 2147483647 w 324"/>
                  <a:gd name="T73" fmla="*/ 2147483647 h 582"/>
                  <a:gd name="T74" fmla="*/ 2147483647 w 324"/>
                  <a:gd name="T75" fmla="*/ 2147483647 h 582"/>
                  <a:gd name="T76" fmla="*/ 2147483647 w 324"/>
                  <a:gd name="T77" fmla="*/ 2147483647 h 582"/>
                  <a:gd name="T78" fmla="*/ 2147483647 w 324"/>
                  <a:gd name="T79" fmla="*/ 2147483647 h 582"/>
                  <a:gd name="T80" fmla="*/ 2147483647 w 324"/>
                  <a:gd name="T81" fmla="*/ 2147483647 h 582"/>
                  <a:gd name="T82" fmla="*/ 2147483647 w 324"/>
                  <a:gd name="T83" fmla="*/ 2147483647 h 582"/>
                  <a:gd name="T84" fmla="*/ 2147483647 w 324"/>
                  <a:gd name="T85" fmla="*/ 2147483647 h 582"/>
                  <a:gd name="T86" fmla="*/ 2147483647 w 324"/>
                  <a:gd name="T87" fmla="*/ 2147483647 h 582"/>
                  <a:gd name="T88" fmla="*/ 2147483647 w 324"/>
                  <a:gd name="T89" fmla="*/ 2147483647 h 582"/>
                  <a:gd name="T90" fmla="*/ 2147483647 w 324"/>
                  <a:gd name="T91" fmla="*/ 2147483647 h 582"/>
                  <a:gd name="T92" fmla="*/ 2147483647 w 324"/>
                  <a:gd name="T93" fmla="*/ 2147483647 h 582"/>
                  <a:gd name="T94" fmla="*/ 2147483647 w 324"/>
                  <a:gd name="T95" fmla="*/ 2147483647 h 582"/>
                  <a:gd name="T96" fmla="*/ 2147483647 w 324"/>
                  <a:gd name="T97" fmla="*/ 2147483647 h 582"/>
                  <a:gd name="T98" fmla="*/ 2147483647 w 324"/>
                  <a:gd name="T99" fmla="*/ 2147483647 h 582"/>
                  <a:gd name="T100" fmla="*/ 2147483647 w 324"/>
                  <a:gd name="T101" fmla="*/ 2147483647 h 582"/>
                  <a:gd name="T102" fmla="*/ 2147483647 w 324"/>
                  <a:gd name="T103" fmla="*/ 2147483647 h 582"/>
                  <a:gd name="T104" fmla="*/ 2147483647 w 324"/>
                  <a:gd name="T105" fmla="*/ 2147483647 h 582"/>
                  <a:gd name="T106" fmla="*/ 2147483647 w 324"/>
                  <a:gd name="T107" fmla="*/ 2147483647 h 582"/>
                  <a:gd name="T108" fmla="*/ 2147483647 w 324"/>
                  <a:gd name="T109" fmla="*/ 2147483647 h 582"/>
                  <a:gd name="T110" fmla="*/ 2147483647 w 324"/>
                  <a:gd name="T111" fmla="*/ 2147483647 h 582"/>
                  <a:gd name="T112" fmla="*/ 2147483647 w 324"/>
                  <a:gd name="T113" fmla="*/ 2147483647 h 582"/>
                  <a:gd name="T114" fmla="*/ 2147483647 w 324"/>
                  <a:gd name="T115" fmla="*/ 2147483647 h 582"/>
                  <a:gd name="T116" fmla="*/ 2147483647 w 324"/>
                  <a:gd name="T117" fmla="*/ 2147483647 h 582"/>
                  <a:gd name="T118" fmla="*/ 2147483647 w 324"/>
                  <a:gd name="T119" fmla="*/ 2147483647 h 582"/>
                  <a:gd name="T120" fmla="*/ 2147483647 w 324"/>
                  <a:gd name="T121" fmla="*/ 2147483647 h 582"/>
                  <a:gd name="T122" fmla="*/ 2147483647 w 324"/>
                  <a:gd name="T123" fmla="*/ 0 h 582"/>
                  <a:gd name="T124" fmla="*/ 2147483647 w 324"/>
                  <a:gd name="T125" fmla="*/ 2147483647 h 58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24"/>
                  <a:gd name="T190" fmla="*/ 0 h 582"/>
                  <a:gd name="T191" fmla="*/ 324 w 324"/>
                  <a:gd name="T192" fmla="*/ 582 h 582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24" h="582">
                    <a:moveTo>
                      <a:pt x="90" y="42"/>
                    </a:moveTo>
                    <a:lnTo>
                      <a:pt x="84" y="48"/>
                    </a:lnTo>
                    <a:lnTo>
                      <a:pt x="72" y="48"/>
                    </a:lnTo>
                    <a:lnTo>
                      <a:pt x="60" y="60"/>
                    </a:lnTo>
                    <a:lnTo>
                      <a:pt x="60" y="102"/>
                    </a:lnTo>
                    <a:lnTo>
                      <a:pt x="84" y="102"/>
                    </a:lnTo>
                    <a:lnTo>
                      <a:pt x="84" y="120"/>
                    </a:lnTo>
                    <a:lnTo>
                      <a:pt x="78" y="126"/>
                    </a:lnTo>
                    <a:lnTo>
                      <a:pt x="66" y="132"/>
                    </a:lnTo>
                    <a:lnTo>
                      <a:pt x="54" y="132"/>
                    </a:lnTo>
                    <a:lnTo>
                      <a:pt x="42" y="138"/>
                    </a:lnTo>
                    <a:lnTo>
                      <a:pt x="12" y="138"/>
                    </a:lnTo>
                    <a:lnTo>
                      <a:pt x="12" y="144"/>
                    </a:lnTo>
                    <a:lnTo>
                      <a:pt x="30" y="162"/>
                    </a:lnTo>
                    <a:lnTo>
                      <a:pt x="30" y="180"/>
                    </a:lnTo>
                    <a:lnTo>
                      <a:pt x="18" y="186"/>
                    </a:lnTo>
                    <a:lnTo>
                      <a:pt x="12" y="186"/>
                    </a:lnTo>
                    <a:lnTo>
                      <a:pt x="0" y="192"/>
                    </a:lnTo>
                    <a:lnTo>
                      <a:pt x="0" y="204"/>
                    </a:lnTo>
                    <a:lnTo>
                      <a:pt x="6" y="210"/>
                    </a:lnTo>
                    <a:lnTo>
                      <a:pt x="12" y="222"/>
                    </a:lnTo>
                    <a:lnTo>
                      <a:pt x="48" y="258"/>
                    </a:lnTo>
                    <a:lnTo>
                      <a:pt x="72" y="264"/>
                    </a:lnTo>
                    <a:lnTo>
                      <a:pt x="78" y="252"/>
                    </a:lnTo>
                    <a:lnTo>
                      <a:pt x="90" y="264"/>
                    </a:lnTo>
                    <a:lnTo>
                      <a:pt x="96" y="276"/>
                    </a:lnTo>
                    <a:lnTo>
                      <a:pt x="96" y="294"/>
                    </a:lnTo>
                    <a:lnTo>
                      <a:pt x="90" y="306"/>
                    </a:lnTo>
                    <a:lnTo>
                      <a:pt x="84" y="312"/>
                    </a:lnTo>
                    <a:lnTo>
                      <a:pt x="84" y="318"/>
                    </a:lnTo>
                    <a:lnTo>
                      <a:pt x="90" y="324"/>
                    </a:lnTo>
                    <a:lnTo>
                      <a:pt x="96" y="324"/>
                    </a:lnTo>
                    <a:lnTo>
                      <a:pt x="108" y="318"/>
                    </a:lnTo>
                    <a:lnTo>
                      <a:pt x="114" y="318"/>
                    </a:lnTo>
                    <a:lnTo>
                      <a:pt x="114" y="348"/>
                    </a:lnTo>
                    <a:lnTo>
                      <a:pt x="120" y="354"/>
                    </a:lnTo>
                    <a:lnTo>
                      <a:pt x="126" y="354"/>
                    </a:lnTo>
                    <a:lnTo>
                      <a:pt x="126" y="366"/>
                    </a:lnTo>
                    <a:lnTo>
                      <a:pt x="120" y="378"/>
                    </a:lnTo>
                    <a:lnTo>
                      <a:pt x="108" y="390"/>
                    </a:lnTo>
                    <a:lnTo>
                      <a:pt x="96" y="432"/>
                    </a:lnTo>
                    <a:lnTo>
                      <a:pt x="90" y="444"/>
                    </a:lnTo>
                    <a:lnTo>
                      <a:pt x="90" y="450"/>
                    </a:lnTo>
                    <a:lnTo>
                      <a:pt x="84" y="462"/>
                    </a:lnTo>
                    <a:lnTo>
                      <a:pt x="84" y="468"/>
                    </a:lnTo>
                    <a:lnTo>
                      <a:pt x="90" y="480"/>
                    </a:lnTo>
                    <a:lnTo>
                      <a:pt x="114" y="504"/>
                    </a:lnTo>
                    <a:lnTo>
                      <a:pt x="114" y="534"/>
                    </a:lnTo>
                    <a:lnTo>
                      <a:pt x="144" y="570"/>
                    </a:lnTo>
                    <a:lnTo>
                      <a:pt x="156" y="570"/>
                    </a:lnTo>
                    <a:lnTo>
                      <a:pt x="162" y="582"/>
                    </a:lnTo>
                    <a:lnTo>
                      <a:pt x="198" y="582"/>
                    </a:lnTo>
                    <a:lnTo>
                      <a:pt x="204" y="576"/>
                    </a:lnTo>
                    <a:lnTo>
                      <a:pt x="204" y="564"/>
                    </a:lnTo>
                    <a:lnTo>
                      <a:pt x="216" y="552"/>
                    </a:lnTo>
                    <a:lnTo>
                      <a:pt x="234" y="552"/>
                    </a:lnTo>
                    <a:lnTo>
                      <a:pt x="240" y="540"/>
                    </a:lnTo>
                    <a:lnTo>
                      <a:pt x="270" y="540"/>
                    </a:lnTo>
                    <a:lnTo>
                      <a:pt x="270" y="534"/>
                    </a:lnTo>
                    <a:lnTo>
                      <a:pt x="288" y="516"/>
                    </a:lnTo>
                    <a:lnTo>
                      <a:pt x="300" y="516"/>
                    </a:lnTo>
                    <a:lnTo>
                      <a:pt x="312" y="528"/>
                    </a:lnTo>
                    <a:lnTo>
                      <a:pt x="318" y="528"/>
                    </a:lnTo>
                    <a:lnTo>
                      <a:pt x="324" y="522"/>
                    </a:lnTo>
                    <a:lnTo>
                      <a:pt x="324" y="510"/>
                    </a:lnTo>
                    <a:lnTo>
                      <a:pt x="318" y="504"/>
                    </a:lnTo>
                    <a:lnTo>
                      <a:pt x="312" y="492"/>
                    </a:lnTo>
                    <a:lnTo>
                      <a:pt x="306" y="474"/>
                    </a:lnTo>
                    <a:lnTo>
                      <a:pt x="288" y="456"/>
                    </a:lnTo>
                    <a:lnTo>
                      <a:pt x="282" y="444"/>
                    </a:lnTo>
                    <a:lnTo>
                      <a:pt x="282" y="420"/>
                    </a:lnTo>
                    <a:lnTo>
                      <a:pt x="288" y="414"/>
                    </a:lnTo>
                    <a:lnTo>
                      <a:pt x="288" y="396"/>
                    </a:lnTo>
                    <a:lnTo>
                      <a:pt x="276" y="408"/>
                    </a:lnTo>
                    <a:lnTo>
                      <a:pt x="276" y="414"/>
                    </a:lnTo>
                    <a:lnTo>
                      <a:pt x="264" y="414"/>
                    </a:lnTo>
                    <a:lnTo>
                      <a:pt x="258" y="402"/>
                    </a:lnTo>
                    <a:lnTo>
                      <a:pt x="252" y="396"/>
                    </a:lnTo>
                    <a:lnTo>
                      <a:pt x="246" y="384"/>
                    </a:lnTo>
                    <a:lnTo>
                      <a:pt x="246" y="372"/>
                    </a:lnTo>
                    <a:lnTo>
                      <a:pt x="240" y="372"/>
                    </a:lnTo>
                    <a:lnTo>
                      <a:pt x="240" y="366"/>
                    </a:lnTo>
                    <a:lnTo>
                      <a:pt x="234" y="360"/>
                    </a:lnTo>
                    <a:lnTo>
                      <a:pt x="234" y="348"/>
                    </a:lnTo>
                    <a:lnTo>
                      <a:pt x="240" y="336"/>
                    </a:lnTo>
                    <a:lnTo>
                      <a:pt x="246" y="330"/>
                    </a:lnTo>
                    <a:lnTo>
                      <a:pt x="246" y="288"/>
                    </a:lnTo>
                    <a:lnTo>
                      <a:pt x="252" y="282"/>
                    </a:lnTo>
                    <a:lnTo>
                      <a:pt x="264" y="276"/>
                    </a:lnTo>
                    <a:lnTo>
                      <a:pt x="294" y="276"/>
                    </a:lnTo>
                    <a:lnTo>
                      <a:pt x="300" y="270"/>
                    </a:lnTo>
                    <a:lnTo>
                      <a:pt x="300" y="258"/>
                    </a:lnTo>
                    <a:lnTo>
                      <a:pt x="288" y="246"/>
                    </a:lnTo>
                    <a:lnTo>
                      <a:pt x="288" y="234"/>
                    </a:lnTo>
                    <a:lnTo>
                      <a:pt x="294" y="222"/>
                    </a:lnTo>
                    <a:lnTo>
                      <a:pt x="300" y="216"/>
                    </a:lnTo>
                    <a:lnTo>
                      <a:pt x="306" y="204"/>
                    </a:lnTo>
                    <a:lnTo>
                      <a:pt x="306" y="192"/>
                    </a:lnTo>
                    <a:lnTo>
                      <a:pt x="300" y="180"/>
                    </a:lnTo>
                    <a:lnTo>
                      <a:pt x="294" y="174"/>
                    </a:lnTo>
                    <a:lnTo>
                      <a:pt x="276" y="174"/>
                    </a:lnTo>
                    <a:lnTo>
                      <a:pt x="270" y="180"/>
                    </a:lnTo>
                    <a:lnTo>
                      <a:pt x="270" y="156"/>
                    </a:lnTo>
                    <a:lnTo>
                      <a:pt x="258" y="150"/>
                    </a:lnTo>
                    <a:lnTo>
                      <a:pt x="252" y="138"/>
                    </a:lnTo>
                    <a:lnTo>
                      <a:pt x="234" y="132"/>
                    </a:lnTo>
                    <a:lnTo>
                      <a:pt x="216" y="132"/>
                    </a:lnTo>
                    <a:lnTo>
                      <a:pt x="204" y="138"/>
                    </a:lnTo>
                    <a:lnTo>
                      <a:pt x="198" y="150"/>
                    </a:lnTo>
                    <a:lnTo>
                      <a:pt x="198" y="156"/>
                    </a:lnTo>
                    <a:lnTo>
                      <a:pt x="192" y="162"/>
                    </a:lnTo>
                    <a:lnTo>
                      <a:pt x="192" y="168"/>
                    </a:lnTo>
                    <a:lnTo>
                      <a:pt x="192" y="162"/>
                    </a:lnTo>
                    <a:lnTo>
                      <a:pt x="198" y="156"/>
                    </a:lnTo>
                    <a:lnTo>
                      <a:pt x="198" y="144"/>
                    </a:lnTo>
                    <a:lnTo>
                      <a:pt x="204" y="132"/>
                    </a:lnTo>
                    <a:lnTo>
                      <a:pt x="204" y="114"/>
                    </a:lnTo>
                    <a:lnTo>
                      <a:pt x="210" y="102"/>
                    </a:lnTo>
                    <a:lnTo>
                      <a:pt x="210" y="78"/>
                    </a:lnTo>
                    <a:lnTo>
                      <a:pt x="192" y="42"/>
                    </a:lnTo>
                    <a:lnTo>
                      <a:pt x="180" y="30"/>
                    </a:lnTo>
                    <a:lnTo>
                      <a:pt x="132" y="6"/>
                    </a:lnTo>
                    <a:lnTo>
                      <a:pt x="126" y="0"/>
                    </a:lnTo>
                    <a:lnTo>
                      <a:pt x="120" y="0"/>
                    </a:lnTo>
                    <a:lnTo>
                      <a:pt x="102" y="36"/>
                    </a:lnTo>
                    <a:lnTo>
                      <a:pt x="96" y="42"/>
                    </a:lnTo>
                    <a:lnTo>
                      <a:pt x="90" y="4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4" name="Ecuador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F230D46F-03B5-4752-BDCF-55259EDDF32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63895" y="898282"/>
                <a:ext cx="148535" cy="189559"/>
              </a:xfrm>
              <a:custGeom>
                <a:avLst/>
                <a:gdLst>
                  <a:gd name="T0" fmla="*/ 2147483647 w 414"/>
                  <a:gd name="T1" fmla="*/ 2147483647 h 528"/>
                  <a:gd name="T2" fmla="*/ 2147483647 w 414"/>
                  <a:gd name="T3" fmla="*/ 2147483647 h 528"/>
                  <a:gd name="T4" fmla="*/ 2147483647 w 414"/>
                  <a:gd name="T5" fmla="*/ 2147483647 h 528"/>
                  <a:gd name="T6" fmla="*/ 2147483647 w 414"/>
                  <a:gd name="T7" fmla="*/ 2147483647 h 528"/>
                  <a:gd name="T8" fmla="*/ 2147483647 w 414"/>
                  <a:gd name="T9" fmla="*/ 2147483647 h 528"/>
                  <a:gd name="T10" fmla="*/ 2147483647 w 414"/>
                  <a:gd name="T11" fmla="*/ 2147483647 h 528"/>
                  <a:gd name="T12" fmla="*/ 2147483647 w 414"/>
                  <a:gd name="T13" fmla="*/ 2147483647 h 528"/>
                  <a:gd name="T14" fmla="*/ 2147483647 w 414"/>
                  <a:gd name="T15" fmla="*/ 2147483647 h 528"/>
                  <a:gd name="T16" fmla="*/ 2147483647 w 414"/>
                  <a:gd name="T17" fmla="*/ 2147483647 h 528"/>
                  <a:gd name="T18" fmla="*/ 2147483647 w 414"/>
                  <a:gd name="T19" fmla="*/ 2147483647 h 528"/>
                  <a:gd name="T20" fmla="*/ 2147483647 w 414"/>
                  <a:gd name="T21" fmla="*/ 2147483647 h 528"/>
                  <a:gd name="T22" fmla="*/ 2147483647 w 414"/>
                  <a:gd name="T23" fmla="*/ 2147483647 h 528"/>
                  <a:gd name="T24" fmla="*/ 2147483647 w 414"/>
                  <a:gd name="T25" fmla="*/ 2147483647 h 528"/>
                  <a:gd name="T26" fmla="*/ 2147483647 w 414"/>
                  <a:gd name="T27" fmla="*/ 2147483647 h 528"/>
                  <a:gd name="T28" fmla="*/ 2147483647 w 414"/>
                  <a:gd name="T29" fmla="*/ 2147483647 h 528"/>
                  <a:gd name="T30" fmla="*/ 2147483647 w 414"/>
                  <a:gd name="T31" fmla="*/ 2147483647 h 528"/>
                  <a:gd name="T32" fmla="*/ 2147483647 w 414"/>
                  <a:gd name="T33" fmla="*/ 2147483647 h 528"/>
                  <a:gd name="T34" fmla="*/ 2147483647 w 414"/>
                  <a:gd name="T35" fmla="*/ 2147483647 h 528"/>
                  <a:gd name="T36" fmla="*/ 2147483647 w 414"/>
                  <a:gd name="T37" fmla="*/ 2147483647 h 528"/>
                  <a:gd name="T38" fmla="*/ 2147483647 w 414"/>
                  <a:gd name="T39" fmla="*/ 2147483647 h 528"/>
                  <a:gd name="T40" fmla="*/ 2147483647 w 414"/>
                  <a:gd name="T41" fmla="*/ 2147483647 h 528"/>
                  <a:gd name="T42" fmla="*/ 2147483647 w 414"/>
                  <a:gd name="T43" fmla="*/ 2147483647 h 528"/>
                  <a:gd name="T44" fmla="*/ 2147483647 w 414"/>
                  <a:gd name="T45" fmla="*/ 2147483647 h 528"/>
                  <a:gd name="T46" fmla="*/ 2147483647 w 414"/>
                  <a:gd name="T47" fmla="*/ 2147483647 h 528"/>
                  <a:gd name="T48" fmla="*/ 2147483647 w 414"/>
                  <a:gd name="T49" fmla="*/ 2147483647 h 528"/>
                  <a:gd name="T50" fmla="*/ 2147483647 w 414"/>
                  <a:gd name="T51" fmla="*/ 2147483647 h 528"/>
                  <a:gd name="T52" fmla="*/ 2147483647 w 414"/>
                  <a:gd name="T53" fmla="*/ 2147483647 h 528"/>
                  <a:gd name="T54" fmla="*/ 2147483647 w 414"/>
                  <a:gd name="T55" fmla="*/ 2147483647 h 528"/>
                  <a:gd name="T56" fmla="*/ 2147483647 w 414"/>
                  <a:gd name="T57" fmla="*/ 2147483647 h 528"/>
                  <a:gd name="T58" fmla="*/ 2147483647 w 414"/>
                  <a:gd name="T59" fmla="*/ 2147483647 h 528"/>
                  <a:gd name="T60" fmla="*/ 2147483647 w 414"/>
                  <a:gd name="T61" fmla="*/ 2147483647 h 528"/>
                  <a:gd name="T62" fmla="*/ 2147483647 w 414"/>
                  <a:gd name="T63" fmla="*/ 2147483647 h 528"/>
                  <a:gd name="T64" fmla="*/ 2147483647 w 414"/>
                  <a:gd name="T65" fmla="*/ 2147483647 h 528"/>
                  <a:gd name="T66" fmla="*/ 2147483647 w 414"/>
                  <a:gd name="T67" fmla="*/ 2147483647 h 528"/>
                  <a:gd name="T68" fmla="*/ 2147483647 w 414"/>
                  <a:gd name="T69" fmla="*/ 2147483647 h 528"/>
                  <a:gd name="T70" fmla="*/ 2147483647 w 414"/>
                  <a:gd name="T71" fmla="*/ 2147483647 h 528"/>
                  <a:gd name="T72" fmla="*/ 2147483647 w 414"/>
                  <a:gd name="T73" fmla="*/ 2147483647 h 528"/>
                  <a:gd name="T74" fmla="*/ 2147483647 w 414"/>
                  <a:gd name="T75" fmla="*/ 2147483647 h 528"/>
                  <a:gd name="T76" fmla="*/ 2147483647 w 414"/>
                  <a:gd name="T77" fmla="*/ 2147483647 h 528"/>
                  <a:gd name="T78" fmla="*/ 2147483647 w 414"/>
                  <a:gd name="T79" fmla="*/ 2147483647 h 528"/>
                  <a:gd name="T80" fmla="*/ 2147483647 w 414"/>
                  <a:gd name="T81" fmla="*/ 2147483647 h 528"/>
                  <a:gd name="T82" fmla="*/ 2147483647 w 414"/>
                  <a:gd name="T83" fmla="*/ 2147483647 h 528"/>
                  <a:gd name="T84" fmla="*/ 2147483647 w 414"/>
                  <a:gd name="T85" fmla="*/ 2147483647 h 528"/>
                  <a:gd name="T86" fmla="*/ 2147483647 w 414"/>
                  <a:gd name="T87" fmla="*/ 2147483647 h 528"/>
                  <a:gd name="T88" fmla="*/ 2147483647 w 414"/>
                  <a:gd name="T89" fmla="*/ 2147483647 h 528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414"/>
                  <a:gd name="T136" fmla="*/ 0 h 528"/>
                  <a:gd name="T137" fmla="*/ 414 w 414"/>
                  <a:gd name="T138" fmla="*/ 528 h 528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414" h="528">
                    <a:moveTo>
                      <a:pt x="60" y="372"/>
                    </a:moveTo>
                    <a:lnTo>
                      <a:pt x="72" y="366"/>
                    </a:lnTo>
                    <a:lnTo>
                      <a:pt x="78" y="360"/>
                    </a:lnTo>
                    <a:lnTo>
                      <a:pt x="78" y="342"/>
                    </a:lnTo>
                    <a:lnTo>
                      <a:pt x="72" y="342"/>
                    </a:lnTo>
                    <a:lnTo>
                      <a:pt x="54" y="360"/>
                    </a:lnTo>
                    <a:lnTo>
                      <a:pt x="54" y="372"/>
                    </a:lnTo>
                    <a:lnTo>
                      <a:pt x="60" y="372"/>
                    </a:lnTo>
                    <a:close/>
                    <a:moveTo>
                      <a:pt x="414" y="174"/>
                    </a:moveTo>
                    <a:lnTo>
                      <a:pt x="390" y="156"/>
                    </a:lnTo>
                    <a:lnTo>
                      <a:pt x="396" y="156"/>
                    </a:lnTo>
                    <a:lnTo>
                      <a:pt x="396" y="150"/>
                    </a:lnTo>
                    <a:lnTo>
                      <a:pt x="402" y="150"/>
                    </a:lnTo>
                    <a:lnTo>
                      <a:pt x="402" y="126"/>
                    </a:lnTo>
                    <a:lnTo>
                      <a:pt x="372" y="126"/>
                    </a:lnTo>
                    <a:lnTo>
                      <a:pt x="360" y="114"/>
                    </a:lnTo>
                    <a:lnTo>
                      <a:pt x="360" y="108"/>
                    </a:lnTo>
                    <a:lnTo>
                      <a:pt x="354" y="102"/>
                    </a:lnTo>
                    <a:lnTo>
                      <a:pt x="354" y="96"/>
                    </a:lnTo>
                    <a:lnTo>
                      <a:pt x="342" y="90"/>
                    </a:lnTo>
                    <a:lnTo>
                      <a:pt x="336" y="90"/>
                    </a:lnTo>
                    <a:lnTo>
                      <a:pt x="330" y="96"/>
                    </a:lnTo>
                    <a:lnTo>
                      <a:pt x="330" y="108"/>
                    </a:lnTo>
                    <a:lnTo>
                      <a:pt x="306" y="108"/>
                    </a:lnTo>
                    <a:lnTo>
                      <a:pt x="300" y="102"/>
                    </a:lnTo>
                    <a:lnTo>
                      <a:pt x="288" y="96"/>
                    </a:lnTo>
                    <a:lnTo>
                      <a:pt x="282" y="102"/>
                    </a:lnTo>
                    <a:lnTo>
                      <a:pt x="270" y="102"/>
                    </a:lnTo>
                    <a:lnTo>
                      <a:pt x="258" y="96"/>
                    </a:lnTo>
                    <a:lnTo>
                      <a:pt x="252" y="90"/>
                    </a:lnTo>
                    <a:lnTo>
                      <a:pt x="252" y="84"/>
                    </a:lnTo>
                    <a:lnTo>
                      <a:pt x="246" y="72"/>
                    </a:lnTo>
                    <a:lnTo>
                      <a:pt x="240" y="66"/>
                    </a:lnTo>
                    <a:lnTo>
                      <a:pt x="228" y="60"/>
                    </a:lnTo>
                    <a:lnTo>
                      <a:pt x="210" y="60"/>
                    </a:lnTo>
                    <a:lnTo>
                      <a:pt x="204" y="48"/>
                    </a:lnTo>
                    <a:lnTo>
                      <a:pt x="168" y="30"/>
                    </a:lnTo>
                    <a:lnTo>
                      <a:pt x="162" y="18"/>
                    </a:lnTo>
                    <a:lnTo>
                      <a:pt x="150" y="12"/>
                    </a:lnTo>
                    <a:lnTo>
                      <a:pt x="144" y="0"/>
                    </a:lnTo>
                    <a:lnTo>
                      <a:pt x="144" y="12"/>
                    </a:lnTo>
                    <a:lnTo>
                      <a:pt x="150" y="18"/>
                    </a:lnTo>
                    <a:lnTo>
                      <a:pt x="150" y="36"/>
                    </a:lnTo>
                    <a:lnTo>
                      <a:pt x="144" y="42"/>
                    </a:lnTo>
                    <a:lnTo>
                      <a:pt x="120" y="54"/>
                    </a:lnTo>
                    <a:lnTo>
                      <a:pt x="102" y="54"/>
                    </a:lnTo>
                    <a:lnTo>
                      <a:pt x="96" y="42"/>
                    </a:lnTo>
                    <a:lnTo>
                      <a:pt x="90" y="42"/>
                    </a:lnTo>
                    <a:lnTo>
                      <a:pt x="78" y="54"/>
                    </a:lnTo>
                    <a:lnTo>
                      <a:pt x="66" y="60"/>
                    </a:lnTo>
                    <a:lnTo>
                      <a:pt x="60" y="72"/>
                    </a:lnTo>
                    <a:lnTo>
                      <a:pt x="60" y="84"/>
                    </a:lnTo>
                    <a:lnTo>
                      <a:pt x="66" y="90"/>
                    </a:lnTo>
                    <a:lnTo>
                      <a:pt x="72" y="102"/>
                    </a:lnTo>
                    <a:lnTo>
                      <a:pt x="72" y="120"/>
                    </a:lnTo>
                    <a:lnTo>
                      <a:pt x="66" y="126"/>
                    </a:lnTo>
                    <a:lnTo>
                      <a:pt x="54" y="132"/>
                    </a:lnTo>
                    <a:lnTo>
                      <a:pt x="42" y="144"/>
                    </a:lnTo>
                    <a:lnTo>
                      <a:pt x="42" y="162"/>
                    </a:lnTo>
                    <a:lnTo>
                      <a:pt x="48" y="168"/>
                    </a:lnTo>
                    <a:lnTo>
                      <a:pt x="54" y="180"/>
                    </a:lnTo>
                    <a:lnTo>
                      <a:pt x="36" y="180"/>
                    </a:lnTo>
                    <a:lnTo>
                      <a:pt x="36" y="198"/>
                    </a:lnTo>
                    <a:lnTo>
                      <a:pt x="0" y="216"/>
                    </a:lnTo>
                    <a:lnTo>
                      <a:pt x="24" y="228"/>
                    </a:lnTo>
                    <a:lnTo>
                      <a:pt x="12" y="258"/>
                    </a:lnTo>
                    <a:lnTo>
                      <a:pt x="24" y="270"/>
                    </a:lnTo>
                    <a:lnTo>
                      <a:pt x="24" y="282"/>
                    </a:lnTo>
                    <a:lnTo>
                      <a:pt x="6" y="300"/>
                    </a:lnTo>
                    <a:lnTo>
                      <a:pt x="0" y="300"/>
                    </a:lnTo>
                    <a:lnTo>
                      <a:pt x="12" y="312"/>
                    </a:lnTo>
                    <a:lnTo>
                      <a:pt x="6" y="318"/>
                    </a:lnTo>
                    <a:lnTo>
                      <a:pt x="6" y="324"/>
                    </a:lnTo>
                    <a:lnTo>
                      <a:pt x="18" y="336"/>
                    </a:lnTo>
                    <a:lnTo>
                      <a:pt x="30" y="342"/>
                    </a:lnTo>
                    <a:lnTo>
                      <a:pt x="60" y="342"/>
                    </a:lnTo>
                    <a:lnTo>
                      <a:pt x="72" y="330"/>
                    </a:lnTo>
                    <a:lnTo>
                      <a:pt x="72" y="324"/>
                    </a:lnTo>
                    <a:lnTo>
                      <a:pt x="96" y="330"/>
                    </a:lnTo>
                    <a:lnTo>
                      <a:pt x="102" y="342"/>
                    </a:lnTo>
                    <a:lnTo>
                      <a:pt x="102" y="348"/>
                    </a:lnTo>
                    <a:lnTo>
                      <a:pt x="96" y="366"/>
                    </a:lnTo>
                    <a:lnTo>
                      <a:pt x="90" y="372"/>
                    </a:lnTo>
                    <a:lnTo>
                      <a:pt x="90" y="384"/>
                    </a:lnTo>
                    <a:lnTo>
                      <a:pt x="84" y="396"/>
                    </a:lnTo>
                    <a:lnTo>
                      <a:pt x="72" y="402"/>
                    </a:lnTo>
                    <a:lnTo>
                      <a:pt x="66" y="402"/>
                    </a:lnTo>
                    <a:lnTo>
                      <a:pt x="60" y="408"/>
                    </a:lnTo>
                    <a:lnTo>
                      <a:pt x="54" y="408"/>
                    </a:lnTo>
                    <a:lnTo>
                      <a:pt x="60" y="408"/>
                    </a:lnTo>
                    <a:lnTo>
                      <a:pt x="72" y="414"/>
                    </a:lnTo>
                    <a:lnTo>
                      <a:pt x="78" y="414"/>
                    </a:lnTo>
                    <a:lnTo>
                      <a:pt x="78" y="420"/>
                    </a:lnTo>
                    <a:lnTo>
                      <a:pt x="72" y="426"/>
                    </a:lnTo>
                    <a:lnTo>
                      <a:pt x="66" y="438"/>
                    </a:lnTo>
                    <a:lnTo>
                      <a:pt x="54" y="444"/>
                    </a:lnTo>
                    <a:lnTo>
                      <a:pt x="48" y="456"/>
                    </a:lnTo>
                    <a:lnTo>
                      <a:pt x="42" y="462"/>
                    </a:lnTo>
                    <a:lnTo>
                      <a:pt x="54" y="474"/>
                    </a:lnTo>
                    <a:lnTo>
                      <a:pt x="42" y="486"/>
                    </a:lnTo>
                    <a:lnTo>
                      <a:pt x="48" y="492"/>
                    </a:lnTo>
                    <a:lnTo>
                      <a:pt x="54" y="492"/>
                    </a:lnTo>
                    <a:lnTo>
                      <a:pt x="66" y="486"/>
                    </a:lnTo>
                    <a:lnTo>
                      <a:pt x="78" y="474"/>
                    </a:lnTo>
                    <a:lnTo>
                      <a:pt x="90" y="486"/>
                    </a:lnTo>
                    <a:lnTo>
                      <a:pt x="120" y="486"/>
                    </a:lnTo>
                    <a:lnTo>
                      <a:pt x="120" y="492"/>
                    </a:lnTo>
                    <a:lnTo>
                      <a:pt x="126" y="498"/>
                    </a:lnTo>
                    <a:lnTo>
                      <a:pt x="126" y="516"/>
                    </a:lnTo>
                    <a:lnTo>
                      <a:pt x="132" y="528"/>
                    </a:lnTo>
                    <a:lnTo>
                      <a:pt x="150" y="528"/>
                    </a:lnTo>
                    <a:lnTo>
                      <a:pt x="150" y="522"/>
                    </a:lnTo>
                    <a:lnTo>
                      <a:pt x="156" y="516"/>
                    </a:lnTo>
                    <a:lnTo>
                      <a:pt x="156" y="510"/>
                    </a:lnTo>
                    <a:lnTo>
                      <a:pt x="162" y="504"/>
                    </a:lnTo>
                    <a:lnTo>
                      <a:pt x="180" y="504"/>
                    </a:lnTo>
                    <a:lnTo>
                      <a:pt x="180" y="474"/>
                    </a:lnTo>
                    <a:lnTo>
                      <a:pt x="186" y="462"/>
                    </a:lnTo>
                    <a:lnTo>
                      <a:pt x="186" y="438"/>
                    </a:lnTo>
                    <a:lnTo>
                      <a:pt x="198" y="426"/>
                    </a:lnTo>
                    <a:lnTo>
                      <a:pt x="198" y="408"/>
                    </a:lnTo>
                    <a:lnTo>
                      <a:pt x="210" y="402"/>
                    </a:lnTo>
                    <a:lnTo>
                      <a:pt x="210" y="396"/>
                    </a:lnTo>
                    <a:lnTo>
                      <a:pt x="228" y="378"/>
                    </a:lnTo>
                    <a:lnTo>
                      <a:pt x="246" y="366"/>
                    </a:lnTo>
                    <a:lnTo>
                      <a:pt x="264" y="360"/>
                    </a:lnTo>
                    <a:lnTo>
                      <a:pt x="324" y="330"/>
                    </a:lnTo>
                    <a:lnTo>
                      <a:pt x="342" y="318"/>
                    </a:lnTo>
                    <a:lnTo>
                      <a:pt x="354" y="300"/>
                    </a:lnTo>
                    <a:lnTo>
                      <a:pt x="366" y="288"/>
                    </a:lnTo>
                    <a:lnTo>
                      <a:pt x="372" y="276"/>
                    </a:lnTo>
                    <a:lnTo>
                      <a:pt x="384" y="264"/>
                    </a:lnTo>
                    <a:lnTo>
                      <a:pt x="390" y="252"/>
                    </a:lnTo>
                    <a:lnTo>
                      <a:pt x="402" y="210"/>
                    </a:lnTo>
                    <a:lnTo>
                      <a:pt x="414" y="204"/>
                    </a:lnTo>
                    <a:lnTo>
                      <a:pt x="414" y="174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5" name="Dominican Republic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D281624-12AF-4455-A8A8-422A1E3F1AD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29843" y="369215"/>
                <a:ext cx="89121" cy="60829"/>
              </a:xfrm>
              <a:custGeom>
                <a:avLst/>
                <a:gdLst>
                  <a:gd name="T0" fmla="*/ 2147483647 w 252"/>
                  <a:gd name="T1" fmla="*/ 2147483647 h 168"/>
                  <a:gd name="T2" fmla="*/ 2147483647 w 252"/>
                  <a:gd name="T3" fmla="*/ 2147483647 h 168"/>
                  <a:gd name="T4" fmla="*/ 2147483647 w 252"/>
                  <a:gd name="T5" fmla="*/ 2147483647 h 168"/>
                  <a:gd name="T6" fmla="*/ 2147483647 w 252"/>
                  <a:gd name="T7" fmla="*/ 2147483647 h 168"/>
                  <a:gd name="T8" fmla="*/ 2147483647 w 252"/>
                  <a:gd name="T9" fmla="*/ 2147483647 h 168"/>
                  <a:gd name="T10" fmla="*/ 2147483647 w 252"/>
                  <a:gd name="T11" fmla="*/ 2147483647 h 168"/>
                  <a:gd name="T12" fmla="*/ 2147483647 w 252"/>
                  <a:gd name="T13" fmla="*/ 2147483647 h 168"/>
                  <a:gd name="T14" fmla="*/ 2147483647 w 252"/>
                  <a:gd name="T15" fmla="*/ 2147483647 h 168"/>
                  <a:gd name="T16" fmla="*/ 2147483647 w 252"/>
                  <a:gd name="T17" fmla="*/ 2147483647 h 168"/>
                  <a:gd name="T18" fmla="*/ 2147483647 w 252"/>
                  <a:gd name="T19" fmla="*/ 2147483647 h 168"/>
                  <a:gd name="T20" fmla="*/ 2147483647 w 252"/>
                  <a:gd name="T21" fmla="*/ 0 h 168"/>
                  <a:gd name="T22" fmla="*/ 2147483647 w 252"/>
                  <a:gd name="T23" fmla="*/ 0 h 168"/>
                  <a:gd name="T24" fmla="*/ 2147483647 w 252"/>
                  <a:gd name="T25" fmla="*/ 2147483647 h 168"/>
                  <a:gd name="T26" fmla="*/ 2147483647 w 252"/>
                  <a:gd name="T27" fmla="*/ 2147483647 h 168"/>
                  <a:gd name="T28" fmla="*/ 2147483647 w 252"/>
                  <a:gd name="T29" fmla="*/ 2147483647 h 168"/>
                  <a:gd name="T30" fmla="*/ 2147483647 w 252"/>
                  <a:gd name="T31" fmla="*/ 2147483647 h 168"/>
                  <a:gd name="T32" fmla="*/ 2147483647 w 252"/>
                  <a:gd name="T33" fmla="*/ 2147483647 h 168"/>
                  <a:gd name="T34" fmla="*/ 2147483647 w 252"/>
                  <a:gd name="T35" fmla="*/ 2147483647 h 168"/>
                  <a:gd name="T36" fmla="*/ 2147483647 w 252"/>
                  <a:gd name="T37" fmla="*/ 2147483647 h 168"/>
                  <a:gd name="T38" fmla="*/ 2147483647 w 252"/>
                  <a:gd name="T39" fmla="*/ 2147483647 h 168"/>
                  <a:gd name="T40" fmla="*/ 2147483647 w 252"/>
                  <a:gd name="T41" fmla="*/ 2147483647 h 168"/>
                  <a:gd name="T42" fmla="*/ 0 w 252"/>
                  <a:gd name="T43" fmla="*/ 2147483647 h 168"/>
                  <a:gd name="T44" fmla="*/ 0 w 252"/>
                  <a:gd name="T45" fmla="*/ 2147483647 h 168"/>
                  <a:gd name="T46" fmla="*/ 2147483647 w 252"/>
                  <a:gd name="T47" fmla="*/ 2147483647 h 168"/>
                  <a:gd name="T48" fmla="*/ 0 w 252"/>
                  <a:gd name="T49" fmla="*/ 2147483647 h 168"/>
                  <a:gd name="T50" fmla="*/ 2147483647 w 252"/>
                  <a:gd name="T51" fmla="*/ 2147483647 h 168"/>
                  <a:gd name="T52" fmla="*/ 2147483647 w 252"/>
                  <a:gd name="T53" fmla="*/ 2147483647 h 168"/>
                  <a:gd name="T54" fmla="*/ 2147483647 w 252"/>
                  <a:gd name="T55" fmla="*/ 2147483647 h 168"/>
                  <a:gd name="T56" fmla="*/ 2147483647 w 252"/>
                  <a:gd name="T57" fmla="*/ 2147483647 h 168"/>
                  <a:gd name="T58" fmla="*/ 2147483647 w 252"/>
                  <a:gd name="T59" fmla="*/ 2147483647 h 168"/>
                  <a:gd name="T60" fmla="*/ 2147483647 w 252"/>
                  <a:gd name="T61" fmla="*/ 2147483647 h 168"/>
                  <a:gd name="T62" fmla="*/ 2147483647 w 252"/>
                  <a:gd name="T63" fmla="*/ 2147483647 h 168"/>
                  <a:gd name="T64" fmla="*/ 2147483647 w 252"/>
                  <a:gd name="T65" fmla="*/ 2147483647 h 168"/>
                  <a:gd name="T66" fmla="*/ 2147483647 w 252"/>
                  <a:gd name="T67" fmla="*/ 2147483647 h 16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52"/>
                  <a:gd name="T103" fmla="*/ 0 h 168"/>
                  <a:gd name="T104" fmla="*/ 252 w 252"/>
                  <a:gd name="T105" fmla="*/ 168 h 168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52" h="168">
                    <a:moveTo>
                      <a:pt x="246" y="102"/>
                    </a:moveTo>
                    <a:lnTo>
                      <a:pt x="234" y="96"/>
                    </a:lnTo>
                    <a:lnTo>
                      <a:pt x="216" y="78"/>
                    </a:lnTo>
                    <a:lnTo>
                      <a:pt x="192" y="66"/>
                    </a:lnTo>
                    <a:lnTo>
                      <a:pt x="156" y="54"/>
                    </a:lnTo>
                    <a:lnTo>
                      <a:pt x="132" y="42"/>
                    </a:lnTo>
                    <a:lnTo>
                      <a:pt x="126" y="30"/>
                    </a:lnTo>
                    <a:lnTo>
                      <a:pt x="108" y="12"/>
                    </a:lnTo>
                    <a:lnTo>
                      <a:pt x="96" y="6"/>
                    </a:lnTo>
                    <a:lnTo>
                      <a:pt x="84" y="6"/>
                    </a:lnTo>
                    <a:lnTo>
                      <a:pt x="60" y="0"/>
                    </a:lnTo>
                    <a:lnTo>
                      <a:pt x="30" y="0"/>
                    </a:lnTo>
                    <a:lnTo>
                      <a:pt x="24" y="6"/>
                    </a:lnTo>
                    <a:lnTo>
                      <a:pt x="18" y="6"/>
                    </a:lnTo>
                    <a:lnTo>
                      <a:pt x="30" y="42"/>
                    </a:lnTo>
                    <a:lnTo>
                      <a:pt x="30" y="54"/>
                    </a:lnTo>
                    <a:lnTo>
                      <a:pt x="24" y="60"/>
                    </a:lnTo>
                    <a:lnTo>
                      <a:pt x="18" y="72"/>
                    </a:lnTo>
                    <a:lnTo>
                      <a:pt x="12" y="78"/>
                    </a:lnTo>
                    <a:lnTo>
                      <a:pt x="12" y="90"/>
                    </a:lnTo>
                    <a:lnTo>
                      <a:pt x="6" y="102"/>
                    </a:lnTo>
                    <a:lnTo>
                      <a:pt x="0" y="108"/>
                    </a:lnTo>
                    <a:lnTo>
                      <a:pt x="0" y="114"/>
                    </a:lnTo>
                    <a:lnTo>
                      <a:pt x="12" y="144"/>
                    </a:lnTo>
                    <a:lnTo>
                      <a:pt x="0" y="126"/>
                    </a:lnTo>
                    <a:lnTo>
                      <a:pt x="30" y="168"/>
                    </a:lnTo>
                    <a:lnTo>
                      <a:pt x="78" y="132"/>
                    </a:lnTo>
                    <a:lnTo>
                      <a:pt x="174" y="132"/>
                    </a:lnTo>
                    <a:lnTo>
                      <a:pt x="186" y="138"/>
                    </a:lnTo>
                    <a:lnTo>
                      <a:pt x="240" y="138"/>
                    </a:lnTo>
                    <a:lnTo>
                      <a:pt x="246" y="132"/>
                    </a:lnTo>
                    <a:lnTo>
                      <a:pt x="252" y="120"/>
                    </a:lnTo>
                    <a:lnTo>
                      <a:pt x="252" y="114"/>
                    </a:lnTo>
                    <a:lnTo>
                      <a:pt x="246" y="10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" name="Cub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D9E8D49-A9A2-4E9B-9258-9F8AE2D6B91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17212" y="273022"/>
                <a:ext cx="264534" cy="96194"/>
              </a:xfrm>
              <a:custGeom>
                <a:avLst/>
                <a:gdLst>
                  <a:gd name="T0" fmla="*/ 2147483647 w 738"/>
                  <a:gd name="T1" fmla="*/ 2147483647 h 270"/>
                  <a:gd name="T2" fmla="*/ 2147483647 w 738"/>
                  <a:gd name="T3" fmla="*/ 2147483647 h 270"/>
                  <a:gd name="T4" fmla="*/ 2147483647 w 738"/>
                  <a:gd name="T5" fmla="*/ 2147483647 h 270"/>
                  <a:gd name="T6" fmla="*/ 2147483647 w 738"/>
                  <a:gd name="T7" fmla="*/ 2147483647 h 270"/>
                  <a:gd name="T8" fmla="*/ 2147483647 w 738"/>
                  <a:gd name="T9" fmla="*/ 2147483647 h 270"/>
                  <a:gd name="T10" fmla="*/ 2147483647 w 738"/>
                  <a:gd name="T11" fmla="*/ 2147483647 h 270"/>
                  <a:gd name="T12" fmla="*/ 2147483647 w 738"/>
                  <a:gd name="T13" fmla="*/ 2147483647 h 270"/>
                  <a:gd name="T14" fmla="*/ 2147483647 w 738"/>
                  <a:gd name="T15" fmla="*/ 2147483647 h 270"/>
                  <a:gd name="T16" fmla="*/ 2147483647 w 738"/>
                  <a:gd name="T17" fmla="*/ 2147483647 h 270"/>
                  <a:gd name="T18" fmla="*/ 2147483647 w 738"/>
                  <a:gd name="T19" fmla="*/ 2147483647 h 270"/>
                  <a:gd name="T20" fmla="*/ 2147483647 w 738"/>
                  <a:gd name="T21" fmla="*/ 2147483647 h 270"/>
                  <a:gd name="T22" fmla="*/ 2147483647 w 738"/>
                  <a:gd name="T23" fmla="*/ 2147483647 h 270"/>
                  <a:gd name="T24" fmla="*/ 2147483647 w 738"/>
                  <a:gd name="T25" fmla="*/ 2147483647 h 270"/>
                  <a:gd name="T26" fmla="*/ 2147483647 w 738"/>
                  <a:gd name="T27" fmla="*/ 2147483647 h 270"/>
                  <a:gd name="T28" fmla="*/ 2147483647 w 738"/>
                  <a:gd name="T29" fmla="*/ 2147483647 h 270"/>
                  <a:gd name="T30" fmla="*/ 2147483647 w 738"/>
                  <a:gd name="T31" fmla="*/ 2147483647 h 270"/>
                  <a:gd name="T32" fmla="*/ 2147483647 w 738"/>
                  <a:gd name="T33" fmla="*/ 2147483647 h 270"/>
                  <a:gd name="T34" fmla="*/ 2147483647 w 738"/>
                  <a:gd name="T35" fmla="*/ 2147483647 h 270"/>
                  <a:gd name="T36" fmla="*/ 2147483647 w 738"/>
                  <a:gd name="T37" fmla="*/ 0 h 270"/>
                  <a:gd name="T38" fmla="*/ 2147483647 w 738"/>
                  <a:gd name="T39" fmla="*/ 2147483647 h 270"/>
                  <a:gd name="T40" fmla="*/ 2147483647 w 738"/>
                  <a:gd name="T41" fmla="*/ 2147483647 h 270"/>
                  <a:gd name="T42" fmla="*/ 2147483647 w 738"/>
                  <a:gd name="T43" fmla="*/ 2147483647 h 270"/>
                  <a:gd name="T44" fmla="*/ 2147483647 w 738"/>
                  <a:gd name="T45" fmla="*/ 2147483647 h 270"/>
                  <a:gd name="T46" fmla="*/ 2147483647 w 738"/>
                  <a:gd name="T47" fmla="*/ 2147483647 h 270"/>
                  <a:gd name="T48" fmla="*/ 2147483647 w 738"/>
                  <a:gd name="T49" fmla="*/ 2147483647 h 270"/>
                  <a:gd name="T50" fmla="*/ 2147483647 w 738"/>
                  <a:gd name="T51" fmla="*/ 2147483647 h 270"/>
                  <a:gd name="T52" fmla="*/ 2147483647 w 738"/>
                  <a:gd name="T53" fmla="*/ 2147483647 h 270"/>
                  <a:gd name="T54" fmla="*/ 2147483647 w 738"/>
                  <a:gd name="T55" fmla="*/ 2147483647 h 270"/>
                  <a:gd name="T56" fmla="*/ 2147483647 w 738"/>
                  <a:gd name="T57" fmla="*/ 2147483647 h 270"/>
                  <a:gd name="T58" fmla="*/ 2147483647 w 738"/>
                  <a:gd name="T59" fmla="*/ 2147483647 h 270"/>
                  <a:gd name="T60" fmla="*/ 2147483647 w 738"/>
                  <a:gd name="T61" fmla="*/ 2147483647 h 270"/>
                  <a:gd name="T62" fmla="*/ 2147483647 w 738"/>
                  <a:gd name="T63" fmla="*/ 2147483647 h 270"/>
                  <a:gd name="T64" fmla="*/ 2147483647 w 738"/>
                  <a:gd name="T65" fmla="*/ 2147483647 h 270"/>
                  <a:gd name="T66" fmla="*/ 2147483647 w 738"/>
                  <a:gd name="T67" fmla="*/ 2147483647 h 270"/>
                  <a:gd name="T68" fmla="*/ 2147483647 w 738"/>
                  <a:gd name="T69" fmla="*/ 2147483647 h 270"/>
                  <a:gd name="T70" fmla="*/ 2147483647 w 738"/>
                  <a:gd name="T71" fmla="*/ 2147483647 h 270"/>
                  <a:gd name="T72" fmla="*/ 2147483647 w 738"/>
                  <a:gd name="T73" fmla="*/ 2147483647 h 270"/>
                  <a:gd name="T74" fmla="*/ 2147483647 w 738"/>
                  <a:gd name="T75" fmla="*/ 2147483647 h 270"/>
                  <a:gd name="T76" fmla="*/ 2147483647 w 738"/>
                  <a:gd name="T77" fmla="*/ 2147483647 h 270"/>
                  <a:gd name="T78" fmla="*/ 2147483647 w 738"/>
                  <a:gd name="T79" fmla="*/ 2147483647 h 270"/>
                  <a:gd name="T80" fmla="*/ 2147483647 w 738"/>
                  <a:gd name="T81" fmla="*/ 2147483647 h 270"/>
                  <a:gd name="T82" fmla="*/ 2147483647 w 738"/>
                  <a:gd name="T83" fmla="*/ 2147483647 h 270"/>
                  <a:gd name="T84" fmla="*/ 2147483647 w 738"/>
                  <a:gd name="T85" fmla="*/ 2147483647 h 270"/>
                  <a:gd name="T86" fmla="*/ 2147483647 w 738"/>
                  <a:gd name="T87" fmla="*/ 2147483647 h 270"/>
                  <a:gd name="T88" fmla="*/ 2147483647 w 738"/>
                  <a:gd name="T89" fmla="*/ 2147483647 h 270"/>
                  <a:gd name="T90" fmla="*/ 2147483647 w 738"/>
                  <a:gd name="T91" fmla="*/ 2147483647 h 270"/>
                  <a:gd name="T92" fmla="*/ 2147483647 w 738"/>
                  <a:gd name="T93" fmla="*/ 2147483647 h 270"/>
                  <a:gd name="T94" fmla="*/ 2147483647 w 738"/>
                  <a:gd name="T95" fmla="*/ 2147483647 h 270"/>
                  <a:gd name="T96" fmla="*/ 2147483647 w 738"/>
                  <a:gd name="T97" fmla="*/ 2147483647 h 270"/>
                  <a:gd name="T98" fmla="*/ 2147483647 w 738"/>
                  <a:gd name="T99" fmla="*/ 2147483647 h 270"/>
                  <a:gd name="T100" fmla="*/ 2147483647 w 738"/>
                  <a:gd name="T101" fmla="*/ 2147483647 h 270"/>
                  <a:gd name="T102" fmla="*/ 2147483647 w 738"/>
                  <a:gd name="T103" fmla="*/ 2147483647 h 270"/>
                  <a:gd name="T104" fmla="*/ 2147483647 w 738"/>
                  <a:gd name="T105" fmla="*/ 2147483647 h 270"/>
                  <a:gd name="T106" fmla="*/ 2147483647 w 738"/>
                  <a:gd name="T107" fmla="*/ 2147483647 h 270"/>
                  <a:gd name="T108" fmla="*/ 2147483647 w 738"/>
                  <a:gd name="T109" fmla="*/ 2147483647 h 270"/>
                  <a:gd name="T110" fmla="*/ 2147483647 w 738"/>
                  <a:gd name="T111" fmla="*/ 2147483647 h 270"/>
                  <a:gd name="T112" fmla="*/ 2147483647 w 738"/>
                  <a:gd name="T113" fmla="*/ 2147483647 h 270"/>
                  <a:gd name="T114" fmla="*/ 2147483647 w 738"/>
                  <a:gd name="T115" fmla="*/ 2147483647 h 27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738"/>
                  <a:gd name="T175" fmla="*/ 0 h 270"/>
                  <a:gd name="T176" fmla="*/ 738 w 738"/>
                  <a:gd name="T177" fmla="*/ 270 h 27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738" h="270">
                    <a:moveTo>
                      <a:pt x="708" y="228"/>
                    </a:moveTo>
                    <a:lnTo>
                      <a:pt x="690" y="222"/>
                    </a:lnTo>
                    <a:lnTo>
                      <a:pt x="666" y="222"/>
                    </a:lnTo>
                    <a:lnTo>
                      <a:pt x="666" y="204"/>
                    </a:lnTo>
                    <a:lnTo>
                      <a:pt x="660" y="198"/>
                    </a:lnTo>
                    <a:lnTo>
                      <a:pt x="648" y="192"/>
                    </a:lnTo>
                    <a:lnTo>
                      <a:pt x="600" y="192"/>
                    </a:lnTo>
                    <a:lnTo>
                      <a:pt x="624" y="168"/>
                    </a:lnTo>
                    <a:lnTo>
                      <a:pt x="612" y="168"/>
                    </a:lnTo>
                    <a:lnTo>
                      <a:pt x="600" y="162"/>
                    </a:lnTo>
                    <a:lnTo>
                      <a:pt x="558" y="162"/>
                    </a:lnTo>
                    <a:lnTo>
                      <a:pt x="534" y="150"/>
                    </a:lnTo>
                    <a:lnTo>
                      <a:pt x="528" y="144"/>
                    </a:lnTo>
                    <a:lnTo>
                      <a:pt x="522" y="144"/>
                    </a:lnTo>
                    <a:lnTo>
                      <a:pt x="528" y="138"/>
                    </a:lnTo>
                    <a:lnTo>
                      <a:pt x="528" y="132"/>
                    </a:lnTo>
                    <a:lnTo>
                      <a:pt x="534" y="126"/>
                    </a:lnTo>
                    <a:lnTo>
                      <a:pt x="534" y="120"/>
                    </a:lnTo>
                    <a:lnTo>
                      <a:pt x="522" y="120"/>
                    </a:lnTo>
                    <a:lnTo>
                      <a:pt x="510" y="114"/>
                    </a:lnTo>
                    <a:lnTo>
                      <a:pt x="504" y="114"/>
                    </a:lnTo>
                    <a:lnTo>
                      <a:pt x="474" y="84"/>
                    </a:lnTo>
                    <a:lnTo>
                      <a:pt x="462" y="78"/>
                    </a:lnTo>
                    <a:lnTo>
                      <a:pt x="450" y="66"/>
                    </a:lnTo>
                    <a:lnTo>
                      <a:pt x="432" y="66"/>
                    </a:lnTo>
                    <a:lnTo>
                      <a:pt x="432" y="84"/>
                    </a:lnTo>
                    <a:lnTo>
                      <a:pt x="444" y="96"/>
                    </a:lnTo>
                    <a:lnTo>
                      <a:pt x="450" y="96"/>
                    </a:lnTo>
                    <a:lnTo>
                      <a:pt x="378" y="60"/>
                    </a:lnTo>
                    <a:lnTo>
                      <a:pt x="372" y="54"/>
                    </a:lnTo>
                    <a:lnTo>
                      <a:pt x="360" y="48"/>
                    </a:lnTo>
                    <a:lnTo>
                      <a:pt x="354" y="36"/>
                    </a:lnTo>
                    <a:lnTo>
                      <a:pt x="342" y="30"/>
                    </a:lnTo>
                    <a:lnTo>
                      <a:pt x="330" y="18"/>
                    </a:lnTo>
                    <a:lnTo>
                      <a:pt x="270" y="18"/>
                    </a:lnTo>
                    <a:lnTo>
                      <a:pt x="258" y="12"/>
                    </a:lnTo>
                    <a:lnTo>
                      <a:pt x="228" y="6"/>
                    </a:lnTo>
                    <a:lnTo>
                      <a:pt x="174" y="0"/>
                    </a:lnTo>
                    <a:lnTo>
                      <a:pt x="126" y="6"/>
                    </a:lnTo>
                    <a:lnTo>
                      <a:pt x="96" y="18"/>
                    </a:lnTo>
                    <a:lnTo>
                      <a:pt x="72" y="42"/>
                    </a:lnTo>
                    <a:lnTo>
                      <a:pt x="60" y="48"/>
                    </a:lnTo>
                    <a:lnTo>
                      <a:pt x="42" y="60"/>
                    </a:lnTo>
                    <a:lnTo>
                      <a:pt x="24" y="66"/>
                    </a:lnTo>
                    <a:lnTo>
                      <a:pt x="12" y="72"/>
                    </a:lnTo>
                    <a:lnTo>
                      <a:pt x="6" y="78"/>
                    </a:lnTo>
                    <a:lnTo>
                      <a:pt x="0" y="78"/>
                    </a:lnTo>
                    <a:lnTo>
                      <a:pt x="72" y="72"/>
                    </a:lnTo>
                    <a:lnTo>
                      <a:pt x="72" y="60"/>
                    </a:lnTo>
                    <a:lnTo>
                      <a:pt x="150" y="54"/>
                    </a:lnTo>
                    <a:lnTo>
                      <a:pt x="174" y="42"/>
                    </a:lnTo>
                    <a:lnTo>
                      <a:pt x="198" y="42"/>
                    </a:lnTo>
                    <a:lnTo>
                      <a:pt x="222" y="54"/>
                    </a:lnTo>
                    <a:lnTo>
                      <a:pt x="222" y="60"/>
                    </a:lnTo>
                    <a:lnTo>
                      <a:pt x="216" y="60"/>
                    </a:lnTo>
                    <a:lnTo>
                      <a:pt x="210" y="66"/>
                    </a:lnTo>
                    <a:lnTo>
                      <a:pt x="198" y="66"/>
                    </a:lnTo>
                    <a:lnTo>
                      <a:pt x="192" y="72"/>
                    </a:lnTo>
                    <a:lnTo>
                      <a:pt x="186" y="72"/>
                    </a:lnTo>
                    <a:lnTo>
                      <a:pt x="204" y="78"/>
                    </a:lnTo>
                    <a:lnTo>
                      <a:pt x="210" y="78"/>
                    </a:lnTo>
                    <a:lnTo>
                      <a:pt x="216" y="84"/>
                    </a:lnTo>
                    <a:lnTo>
                      <a:pt x="228" y="90"/>
                    </a:lnTo>
                    <a:lnTo>
                      <a:pt x="246" y="96"/>
                    </a:lnTo>
                    <a:lnTo>
                      <a:pt x="258" y="102"/>
                    </a:lnTo>
                    <a:lnTo>
                      <a:pt x="276" y="102"/>
                    </a:lnTo>
                    <a:lnTo>
                      <a:pt x="282" y="96"/>
                    </a:lnTo>
                    <a:lnTo>
                      <a:pt x="282" y="90"/>
                    </a:lnTo>
                    <a:lnTo>
                      <a:pt x="294" y="96"/>
                    </a:lnTo>
                    <a:lnTo>
                      <a:pt x="300" y="102"/>
                    </a:lnTo>
                    <a:lnTo>
                      <a:pt x="318" y="114"/>
                    </a:lnTo>
                    <a:lnTo>
                      <a:pt x="342" y="126"/>
                    </a:lnTo>
                    <a:lnTo>
                      <a:pt x="372" y="126"/>
                    </a:lnTo>
                    <a:lnTo>
                      <a:pt x="390" y="120"/>
                    </a:lnTo>
                    <a:lnTo>
                      <a:pt x="402" y="120"/>
                    </a:lnTo>
                    <a:lnTo>
                      <a:pt x="390" y="144"/>
                    </a:lnTo>
                    <a:lnTo>
                      <a:pt x="450" y="168"/>
                    </a:lnTo>
                    <a:lnTo>
                      <a:pt x="474" y="204"/>
                    </a:lnTo>
                    <a:lnTo>
                      <a:pt x="480" y="210"/>
                    </a:lnTo>
                    <a:lnTo>
                      <a:pt x="492" y="216"/>
                    </a:lnTo>
                    <a:lnTo>
                      <a:pt x="498" y="222"/>
                    </a:lnTo>
                    <a:lnTo>
                      <a:pt x="498" y="228"/>
                    </a:lnTo>
                    <a:lnTo>
                      <a:pt x="474" y="252"/>
                    </a:lnTo>
                    <a:lnTo>
                      <a:pt x="474" y="258"/>
                    </a:lnTo>
                    <a:lnTo>
                      <a:pt x="480" y="264"/>
                    </a:lnTo>
                    <a:lnTo>
                      <a:pt x="492" y="258"/>
                    </a:lnTo>
                    <a:lnTo>
                      <a:pt x="504" y="258"/>
                    </a:lnTo>
                    <a:lnTo>
                      <a:pt x="528" y="246"/>
                    </a:lnTo>
                    <a:lnTo>
                      <a:pt x="558" y="246"/>
                    </a:lnTo>
                    <a:lnTo>
                      <a:pt x="558" y="252"/>
                    </a:lnTo>
                    <a:lnTo>
                      <a:pt x="552" y="252"/>
                    </a:lnTo>
                    <a:lnTo>
                      <a:pt x="546" y="258"/>
                    </a:lnTo>
                    <a:lnTo>
                      <a:pt x="546" y="264"/>
                    </a:lnTo>
                    <a:lnTo>
                      <a:pt x="558" y="264"/>
                    </a:lnTo>
                    <a:lnTo>
                      <a:pt x="564" y="270"/>
                    </a:lnTo>
                    <a:lnTo>
                      <a:pt x="612" y="270"/>
                    </a:lnTo>
                    <a:lnTo>
                      <a:pt x="636" y="264"/>
                    </a:lnTo>
                    <a:lnTo>
                      <a:pt x="684" y="258"/>
                    </a:lnTo>
                    <a:lnTo>
                      <a:pt x="720" y="252"/>
                    </a:lnTo>
                    <a:lnTo>
                      <a:pt x="738" y="246"/>
                    </a:lnTo>
                    <a:lnTo>
                      <a:pt x="738" y="240"/>
                    </a:lnTo>
                    <a:lnTo>
                      <a:pt x="732" y="234"/>
                    </a:lnTo>
                    <a:lnTo>
                      <a:pt x="720" y="228"/>
                    </a:lnTo>
                    <a:lnTo>
                      <a:pt x="708" y="228"/>
                    </a:lnTo>
                    <a:close/>
                    <a:moveTo>
                      <a:pt x="114" y="126"/>
                    </a:moveTo>
                    <a:lnTo>
                      <a:pt x="114" y="132"/>
                    </a:lnTo>
                    <a:lnTo>
                      <a:pt x="120" y="138"/>
                    </a:lnTo>
                    <a:lnTo>
                      <a:pt x="132" y="144"/>
                    </a:lnTo>
                    <a:lnTo>
                      <a:pt x="144" y="138"/>
                    </a:lnTo>
                    <a:lnTo>
                      <a:pt x="150" y="138"/>
                    </a:lnTo>
                    <a:lnTo>
                      <a:pt x="156" y="126"/>
                    </a:lnTo>
                    <a:lnTo>
                      <a:pt x="156" y="120"/>
                    </a:lnTo>
                    <a:lnTo>
                      <a:pt x="150" y="114"/>
                    </a:lnTo>
                    <a:lnTo>
                      <a:pt x="138" y="114"/>
                    </a:lnTo>
                    <a:lnTo>
                      <a:pt x="126" y="120"/>
                    </a:lnTo>
                    <a:lnTo>
                      <a:pt x="120" y="120"/>
                    </a:lnTo>
                    <a:lnTo>
                      <a:pt x="114" y="12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7" name="Colomb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EDACD6F6-3B12-4148-8EC1-50F3528D31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6235" y="584237"/>
                <a:ext cx="311216" cy="482384"/>
              </a:xfrm>
              <a:custGeom>
                <a:avLst/>
                <a:gdLst>
                  <a:gd name="T0" fmla="*/ 2147483647 w 870"/>
                  <a:gd name="T1" fmla="*/ 2147483647 h 1344"/>
                  <a:gd name="T2" fmla="*/ 2147483647 w 870"/>
                  <a:gd name="T3" fmla="*/ 2147483647 h 1344"/>
                  <a:gd name="T4" fmla="*/ 2147483647 w 870"/>
                  <a:gd name="T5" fmla="*/ 2147483647 h 1344"/>
                  <a:gd name="T6" fmla="*/ 2147483647 w 870"/>
                  <a:gd name="T7" fmla="*/ 2147483647 h 1344"/>
                  <a:gd name="T8" fmla="*/ 2147483647 w 870"/>
                  <a:gd name="T9" fmla="*/ 2147483647 h 1344"/>
                  <a:gd name="T10" fmla="*/ 2147483647 w 870"/>
                  <a:gd name="T11" fmla="*/ 2147483647 h 1344"/>
                  <a:gd name="T12" fmla="*/ 2147483647 w 870"/>
                  <a:gd name="T13" fmla="*/ 2147483647 h 1344"/>
                  <a:gd name="T14" fmla="*/ 2147483647 w 870"/>
                  <a:gd name="T15" fmla="*/ 2147483647 h 1344"/>
                  <a:gd name="T16" fmla="*/ 2147483647 w 870"/>
                  <a:gd name="T17" fmla="*/ 2147483647 h 1344"/>
                  <a:gd name="T18" fmla="*/ 2147483647 w 870"/>
                  <a:gd name="T19" fmla="*/ 2147483647 h 1344"/>
                  <a:gd name="T20" fmla="*/ 2147483647 w 870"/>
                  <a:gd name="T21" fmla="*/ 2147483647 h 1344"/>
                  <a:gd name="T22" fmla="*/ 2147483647 w 870"/>
                  <a:gd name="T23" fmla="*/ 2147483647 h 1344"/>
                  <a:gd name="T24" fmla="*/ 2147483647 w 870"/>
                  <a:gd name="T25" fmla="*/ 2147483647 h 1344"/>
                  <a:gd name="T26" fmla="*/ 2147483647 w 870"/>
                  <a:gd name="T27" fmla="*/ 2147483647 h 1344"/>
                  <a:gd name="T28" fmla="*/ 2147483647 w 870"/>
                  <a:gd name="T29" fmla="*/ 2147483647 h 1344"/>
                  <a:gd name="T30" fmla="*/ 2147483647 w 870"/>
                  <a:gd name="T31" fmla="*/ 2147483647 h 1344"/>
                  <a:gd name="T32" fmla="*/ 2147483647 w 870"/>
                  <a:gd name="T33" fmla="*/ 2147483647 h 1344"/>
                  <a:gd name="T34" fmla="*/ 2147483647 w 870"/>
                  <a:gd name="T35" fmla="*/ 2147483647 h 1344"/>
                  <a:gd name="T36" fmla="*/ 2147483647 w 870"/>
                  <a:gd name="T37" fmla="*/ 2147483647 h 1344"/>
                  <a:gd name="T38" fmla="*/ 2147483647 w 870"/>
                  <a:gd name="T39" fmla="*/ 2147483647 h 1344"/>
                  <a:gd name="T40" fmla="*/ 2147483647 w 870"/>
                  <a:gd name="T41" fmla="*/ 2147483647 h 1344"/>
                  <a:gd name="T42" fmla="*/ 2147483647 w 870"/>
                  <a:gd name="T43" fmla="*/ 2147483647 h 1344"/>
                  <a:gd name="T44" fmla="*/ 2147483647 w 870"/>
                  <a:gd name="T45" fmla="*/ 2147483647 h 1344"/>
                  <a:gd name="T46" fmla="*/ 2147483647 w 870"/>
                  <a:gd name="T47" fmla="*/ 2147483647 h 1344"/>
                  <a:gd name="T48" fmla="*/ 2147483647 w 870"/>
                  <a:gd name="T49" fmla="*/ 2147483647 h 1344"/>
                  <a:gd name="T50" fmla="*/ 2147483647 w 870"/>
                  <a:gd name="T51" fmla="*/ 2147483647 h 1344"/>
                  <a:gd name="T52" fmla="*/ 2147483647 w 870"/>
                  <a:gd name="T53" fmla="*/ 2147483647 h 1344"/>
                  <a:gd name="T54" fmla="*/ 2147483647 w 870"/>
                  <a:gd name="T55" fmla="*/ 2147483647 h 1344"/>
                  <a:gd name="T56" fmla="*/ 2147483647 w 870"/>
                  <a:gd name="T57" fmla="*/ 2147483647 h 1344"/>
                  <a:gd name="T58" fmla="*/ 2147483647 w 870"/>
                  <a:gd name="T59" fmla="*/ 2147483647 h 1344"/>
                  <a:gd name="T60" fmla="*/ 2147483647 w 870"/>
                  <a:gd name="T61" fmla="*/ 2147483647 h 1344"/>
                  <a:gd name="T62" fmla="*/ 2147483647 w 870"/>
                  <a:gd name="T63" fmla="*/ 2147483647 h 1344"/>
                  <a:gd name="T64" fmla="*/ 2147483647 w 870"/>
                  <a:gd name="T65" fmla="*/ 2147483647 h 1344"/>
                  <a:gd name="T66" fmla="*/ 2147483647 w 870"/>
                  <a:gd name="T67" fmla="*/ 2147483647 h 1344"/>
                  <a:gd name="T68" fmla="*/ 2147483647 w 870"/>
                  <a:gd name="T69" fmla="*/ 2147483647 h 1344"/>
                  <a:gd name="T70" fmla="*/ 2147483647 w 870"/>
                  <a:gd name="T71" fmla="*/ 2147483647 h 1344"/>
                  <a:gd name="T72" fmla="*/ 2147483647 w 870"/>
                  <a:gd name="T73" fmla="*/ 0 h 1344"/>
                  <a:gd name="T74" fmla="*/ 2147483647 w 870"/>
                  <a:gd name="T75" fmla="*/ 2147483647 h 1344"/>
                  <a:gd name="T76" fmla="*/ 2147483647 w 870"/>
                  <a:gd name="T77" fmla="*/ 2147483647 h 1344"/>
                  <a:gd name="T78" fmla="*/ 2147483647 w 870"/>
                  <a:gd name="T79" fmla="*/ 2147483647 h 1344"/>
                  <a:gd name="T80" fmla="*/ 2147483647 w 870"/>
                  <a:gd name="T81" fmla="*/ 2147483647 h 1344"/>
                  <a:gd name="T82" fmla="*/ 2147483647 w 870"/>
                  <a:gd name="T83" fmla="*/ 2147483647 h 1344"/>
                  <a:gd name="T84" fmla="*/ 2147483647 w 870"/>
                  <a:gd name="T85" fmla="*/ 2147483647 h 1344"/>
                  <a:gd name="T86" fmla="*/ 2147483647 w 870"/>
                  <a:gd name="T87" fmla="*/ 2147483647 h 1344"/>
                  <a:gd name="T88" fmla="*/ 2147483647 w 870"/>
                  <a:gd name="T89" fmla="*/ 2147483647 h 1344"/>
                  <a:gd name="T90" fmla="*/ 2147483647 w 870"/>
                  <a:gd name="T91" fmla="*/ 2147483647 h 1344"/>
                  <a:gd name="T92" fmla="*/ 2147483647 w 870"/>
                  <a:gd name="T93" fmla="*/ 2147483647 h 1344"/>
                  <a:gd name="T94" fmla="*/ 2147483647 w 870"/>
                  <a:gd name="T95" fmla="*/ 2147483647 h 1344"/>
                  <a:gd name="T96" fmla="*/ 2147483647 w 870"/>
                  <a:gd name="T97" fmla="*/ 2147483647 h 1344"/>
                  <a:gd name="T98" fmla="*/ 2147483647 w 870"/>
                  <a:gd name="T99" fmla="*/ 2147483647 h 1344"/>
                  <a:gd name="T100" fmla="*/ 2147483647 w 870"/>
                  <a:gd name="T101" fmla="*/ 2147483647 h 1344"/>
                  <a:gd name="T102" fmla="*/ 2147483647 w 870"/>
                  <a:gd name="T103" fmla="*/ 2147483647 h 1344"/>
                  <a:gd name="T104" fmla="*/ 2147483647 w 870"/>
                  <a:gd name="T105" fmla="*/ 2147483647 h 1344"/>
                  <a:gd name="T106" fmla="*/ 2147483647 w 870"/>
                  <a:gd name="T107" fmla="*/ 2147483647 h 134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870"/>
                  <a:gd name="T163" fmla="*/ 0 h 1344"/>
                  <a:gd name="T164" fmla="*/ 870 w 870"/>
                  <a:gd name="T165" fmla="*/ 1344 h 1344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870" h="1344">
                    <a:moveTo>
                      <a:pt x="36" y="912"/>
                    </a:moveTo>
                    <a:lnTo>
                      <a:pt x="60" y="924"/>
                    </a:lnTo>
                    <a:lnTo>
                      <a:pt x="66" y="936"/>
                    </a:lnTo>
                    <a:lnTo>
                      <a:pt x="84" y="936"/>
                    </a:lnTo>
                    <a:lnTo>
                      <a:pt x="96" y="942"/>
                    </a:lnTo>
                    <a:lnTo>
                      <a:pt x="102" y="948"/>
                    </a:lnTo>
                    <a:lnTo>
                      <a:pt x="108" y="960"/>
                    </a:lnTo>
                    <a:lnTo>
                      <a:pt x="108" y="966"/>
                    </a:lnTo>
                    <a:lnTo>
                      <a:pt x="114" y="972"/>
                    </a:lnTo>
                    <a:lnTo>
                      <a:pt x="126" y="978"/>
                    </a:lnTo>
                    <a:lnTo>
                      <a:pt x="138" y="978"/>
                    </a:lnTo>
                    <a:lnTo>
                      <a:pt x="144" y="972"/>
                    </a:lnTo>
                    <a:lnTo>
                      <a:pt x="156" y="978"/>
                    </a:lnTo>
                    <a:lnTo>
                      <a:pt x="162" y="984"/>
                    </a:lnTo>
                    <a:lnTo>
                      <a:pt x="186" y="984"/>
                    </a:lnTo>
                    <a:lnTo>
                      <a:pt x="186" y="972"/>
                    </a:lnTo>
                    <a:lnTo>
                      <a:pt x="192" y="966"/>
                    </a:lnTo>
                    <a:lnTo>
                      <a:pt x="198" y="966"/>
                    </a:lnTo>
                    <a:lnTo>
                      <a:pt x="210" y="972"/>
                    </a:lnTo>
                    <a:lnTo>
                      <a:pt x="210" y="978"/>
                    </a:lnTo>
                    <a:lnTo>
                      <a:pt x="216" y="984"/>
                    </a:lnTo>
                    <a:lnTo>
                      <a:pt x="216" y="990"/>
                    </a:lnTo>
                    <a:lnTo>
                      <a:pt x="228" y="1002"/>
                    </a:lnTo>
                    <a:lnTo>
                      <a:pt x="264" y="1002"/>
                    </a:lnTo>
                    <a:lnTo>
                      <a:pt x="276" y="1008"/>
                    </a:lnTo>
                    <a:lnTo>
                      <a:pt x="282" y="1014"/>
                    </a:lnTo>
                    <a:lnTo>
                      <a:pt x="294" y="1020"/>
                    </a:lnTo>
                    <a:lnTo>
                      <a:pt x="312" y="1038"/>
                    </a:lnTo>
                    <a:lnTo>
                      <a:pt x="324" y="1044"/>
                    </a:lnTo>
                    <a:lnTo>
                      <a:pt x="330" y="1050"/>
                    </a:lnTo>
                    <a:lnTo>
                      <a:pt x="342" y="1086"/>
                    </a:lnTo>
                    <a:lnTo>
                      <a:pt x="360" y="1086"/>
                    </a:lnTo>
                    <a:lnTo>
                      <a:pt x="372" y="1104"/>
                    </a:lnTo>
                    <a:lnTo>
                      <a:pt x="384" y="1104"/>
                    </a:lnTo>
                    <a:lnTo>
                      <a:pt x="390" y="1110"/>
                    </a:lnTo>
                    <a:lnTo>
                      <a:pt x="390" y="1134"/>
                    </a:lnTo>
                    <a:lnTo>
                      <a:pt x="396" y="1140"/>
                    </a:lnTo>
                    <a:lnTo>
                      <a:pt x="396" y="1146"/>
                    </a:lnTo>
                    <a:lnTo>
                      <a:pt x="408" y="1146"/>
                    </a:lnTo>
                    <a:lnTo>
                      <a:pt x="420" y="1152"/>
                    </a:lnTo>
                    <a:lnTo>
                      <a:pt x="426" y="1158"/>
                    </a:lnTo>
                    <a:lnTo>
                      <a:pt x="426" y="1164"/>
                    </a:lnTo>
                    <a:lnTo>
                      <a:pt x="420" y="1170"/>
                    </a:lnTo>
                    <a:lnTo>
                      <a:pt x="420" y="1194"/>
                    </a:lnTo>
                    <a:lnTo>
                      <a:pt x="432" y="1200"/>
                    </a:lnTo>
                    <a:lnTo>
                      <a:pt x="456" y="1206"/>
                    </a:lnTo>
                    <a:lnTo>
                      <a:pt x="492" y="1206"/>
                    </a:lnTo>
                    <a:lnTo>
                      <a:pt x="492" y="1194"/>
                    </a:lnTo>
                    <a:lnTo>
                      <a:pt x="504" y="1182"/>
                    </a:lnTo>
                    <a:lnTo>
                      <a:pt x="528" y="1182"/>
                    </a:lnTo>
                    <a:lnTo>
                      <a:pt x="534" y="1188"/>
                    </a:lnTo>
                    <a:lnTo>
                      <a:pt x="540" y="1188"/>
                    </a:lnTo>
                    <a:lnTo>
                      <a:pt x="546" y="1194"/>
                    </a:lnTo>
                    <a:lnTo>
                      <a:pt x="558" y="1194"/>
                    </a:lnTo>
                    <a:lnTo>
                      <a:pt x="570" y="1188"/>
                    </a:lnTo>
                    <a:lnTo>
                      <a:pt x="576" y="1182"/>
                    </a:lnTo>
                    <a:lnTo>
                      <a:pt x="588" y="1182"/>
                    </a:lnTo>
                    <a:lnTo>
                      <a:pt x="588" y="1188"/>
                    </a:lnTo>
                    <a:lnTo>
                      <a:pt x="594" y="1200"/>
                    </a:lnTo>
                    <a:lnTo>
                      <a:pt x="600" y="1206"/>
                    </a:lnTo>
                    <a:lnTo>
                      <a:pt x="624" y="1206"/>
                    </a:lnTo>
                    <a:lnTo>
                      <a:pt x="636" y="1212"/>
                    </a:lnTo>
                    <a:lnTo>
                      <a:pt x="642" y="1218"/>
                    </a:lnTo>
                    <a:lnTo>
                      <a:pt x="642" y="1236"/>
                    </a:lnTo>
                    <a:lnTo>
                      <a:pt x="636" y="1248"/>
                    </a:lnTo>
                    <a:lnTo>
                      <a:pt x="630" y="1254"/>
                    </a:lnTo>
                    <a:lnTo>
                      <a:pt x="624" y="1254"/>
                    </a:lnTo>
                    <a:lnTo>
                      <a:pt x="618" y="1260"/>
                    </a:lnTo>
                    <a:lnTo>
                      <a:pt x="618" y="1266"/>
                    </a:lnTo>
                    <a:lnTo>
                      <a:pt x="606" y="1290"/>
                    </a:lnTo>
                    <a:lnTo>
                      <a:pt x="606" y="1308"/>
                    </a:lnTo>
                    <a:lnTo>
                      <a:pt x="612" y="1314"/>
                    </a:lnTo>
                    <a:lnTo>
                      <a:pt x="630" y="1314"/>
                    </a:lnTo>
                    <a:lnTo>
                      <a:pt x="642" y="1332"/>
                    </a:lnTo>
                    <a:lnTo>
                      <a:pt x="660" y="1344"/>
                    </a:lnTo>
                    <a:lnTo>
                      <a:pt x="660" y="1308"/>
                    </a:lnTo>
                    <a:lnTo>
                      <a:pt x="666" y="1236"/>
                    </a:lnTo>
                    <a:lnTo>
                      <a:pt x="684" y="1188"/>
                    </a:lnTo>
                    <a:lnTo>
                      <a:pt x="678" y="1140"/>
                    </a:lnTo>
                    <a:lnTo>
                      <a:pt x="690" y="1128"/>
                    </a:lnTo>
                    <a:lnTo>
                      <a:pt x="696" y="1116"/>
                    </a:lnTo>
                    <a:lnTo>
                      <a:pt x="696" y="1104"/>
                    </a:lnTo>
                    <a:lnTo>
                      <a:pt x="690" y="1092"/>
                    </a:lnTo>
                    <a:lnTo>
                      <a:pt x="678" y="1080"/>
                    </a:lnTo>
                    <a:lnTo>
                      <a:pt x="678" y="1074"/>
                    </a:lnTo>
                    <a:lnTo>
                      <a:pt x="672" y="1068"/>
                    </a:lnTo>
                    <a:lnTo>
                      <a:pt x="672" y="1044"/>
                    </a:lnTo>
                    <a:lnTo>
                      <a:pt x="666" y="1038"/>
                    </a:lnTo>
                    <a:lnTo>
                      <a:pt x="654" y="1032"/>
                    </a:lnTo>
                    <a:lnTo>
                      <a:pt x="642" y="1020"/>
                    </a:lnTo>
                    <a:lnTo>
                      <a:pt x="636" y="1020"/>
                    </a:lnTo>
                    <a:lnTo>
                      <a:pt x="642" y="954"/>
                    </a:lnTo>
                    <a:lnTo>
                      <a:pt x="672" y="948"/>
                    </a:lnTo>
                    <a:lnTo>
                      <a:pt x="678" y="954"/>
                    </a:lnTo>
                    <a:lnTo>
                      <a:pt x="708" y="954"/>
                    </a:lnTo>
                    <a:lnTo>
                      <a:pt x="714" y="948"/>
                    </a:lnTo>
                    <a:lnTo>
                      <a:pt x="714" y="942"/>
                    </a:lnTo>
                    <a:lnTo>
                      <a:pt x="708" y="936"/>
                    </a:lnTo>
                    <a:lnTo>
                      <a:pt x="708" y="930"/>
                    </a:lnTo>
                    <a:lnTo>
                      <a:pt x="696" y="918"/>
                    </a:lnTo>
                    <a:lnTo>
                      <a:pt x="684" y="924"/>
                    </a:lnTo>
                    <a:lnTo>
                      <a:pt x="660" y="912"/>
                    </a:lnTo>
                    <a:lnTo>
                      <a:pt x="660" y="900"/>
                    </a:lnTo>
                    <a:lnTo>
                      <a:pt x="654" y="888"/>
                    </a:lnTo>
                    <a:lnTo>
                      <a:pt x="654" y="876"/>
                    </a:lnTo>
                    <a:lnTo>
                      <a:pt x="660" y="864"/>
                    </a:lnTo>
                    <a:lnTo>
                      <a:pt x="666" y="858"/>
                    </a:lnTo>
                    <a:lnTo>
                      <a:pt x="684" y="858"/>
                    </a:lnTo>
                    <a:lnTo>
                      <a:pt x="696" y="870"/>
                    </a:lnTo>
                    <a:lnTo>
                      <a:pt x="762" y="864"/>
                    </a:lnTo>
                    <a:lnTo>
                      <a:pt x="762" y="846"/>
                    </a:lnTo>
                    <a:lnTo>
                      <a:pt x="768" y="840"/>
                    </a:lnTo>
                    <a:lnTo>
                      <a:pt x="774" y="840"/>
                    </a:lnTo>
                    <a:lnTo>
                      <a:pt x="798" y="864"/>
                    </a:lnTo>
                    <a:lnTo>
                      <a:pt x="828" y="834"/>
                    </a:lnTo>
                    <a:lnTo>
                      <a:pt x="834" y="834"/>
                    </a:lnTo>
                    <a:lnTo>
                      <a:pt x="834" y="846"/>
                    </a:lnTo>
                    <a:lnTo>
                      <a:pt x="840" y="852"/>
                    </a:lnTo>
                    <a:lnTo>
                      <a:pt x="840" y="864"/>
                    </a:lnTo>
                    <a:lnTo>
                      <a:pt x="846" y="876"/>
                    </a:lnTo>
                    <a:lnTo>
                      <a:pt x="846" y="906"/>
                    </a:lnTo>
                    <a:lnTo>
                      <a:pt x="870" y="906"/>
                    </a:lnTo>
                    <a:lnTo>
                      <a:pt x="864" y="900"/>
                    </a:lnTo>
                    <a:lnTo>
                      <a:pt x="864" y="882"/>
                    </a:lnTo>
                    <a:lnTo>
                      <a:pt x="858" y="870"/>
                    </a:lnTo>
                    <a:lnTo>
                      <a:pt x="858" y="852"/>
                    </a:lnTo>
                    <a:lnTo>
                      <a:pt x="852" y="846"/>
                    </a:lnTo>
                    <a:lnTo>
                      <a:pt x="852" y="828"/>
                    </a:lnTo>
                    <a:lnTo>
                      <a:pt x="846" y="822"/>
                    </a:lnTo>
                    <a:lnTo>
                      <a:pt x="846" y="798"/>
                    </a:lnTo>
                    <a:lnTo>
                      <a:pt x="834" y="798"/>
                    </a:lnTo>
                    <a:lnTo>
                      <a:pt x="822" y="786"/>
                    </a:lnTo>
                    <a:lnTo>
                      <a:pt x="798" y="774"/>
                    </a:lnTo>
                    <a:lnTo>
                      <a:pt x="804" y="774"/>
                    </a:lnTo>
                    <a:lnTo>
                      <a:pt x="834" y="744"/>
                    </a:lnTo>
                    <a:lnTo>
                      <a:pt x="840" y="732"/>
                    </a:lnTo>
                    <a:lnTo>
                      <a:pt x="840" y="726"/>
                    </a:lnTo>
                    <a:lnTo>
                      <a:pt x="834" y="714"/>
                    </a:lnTo>
                    <a:lnTo>
                      <a:pt x="822" y="708"/>
                    </a:lnTo>
                    <a:lnTo>
                      <a:pt x="816" y="696"/>
                    </a:lnTo>
                    <a:lnTo>
                      <a:pt x="816" y="672"/>
                    </a:lnTo>
                    <a:lnTo>
                      <a:pt x="804" y="672"/>
                    </a:lnTo>
                    <a:lnTo>
                      <a:pt x="798" y="666"/>
                    </a:lnTo>
                    <a:lnTo>
                      <a:pt x="798" y="654"/>
                    </a:lnTo>
                    <a:lnTo>
                      <a:pt x="804" y="642"/>
                    </a:lnTo>
                    <a:lnTo>
                      <a:pt x="804" y="612"/>
                    </a:lnTo>
                    <a:lnTo>
                      <a:pt x="798" y="600"/>
                    </a:lnTo>
                    <a:lnTo>
                      <a:pt x="798" y="576"/>
                    </a:lnTo>
                    <a:lnTo>
                      <a:pt x="810" y="564"/>
                    </a:lnTo>
                    <a:lnTo>
                      <a:pt x="816" y="564"/>
                    </a:lnTo>
                    <a:lnTo>
                      <a:pt x="822" y="558"/>
                    </a:lnTo>
                    <a:lnTo>
                      <a:pt x="822" y="534"/>
                    </a:lnTo>
                    <a:lnTo>
                      <a:pt x="840" y="516"/>
                    </a:lnTo>
                    <a:lnTo>
                      <a:pt x="840" y="504"/>
                    </a:lnTo>
                    <a:lnTo>
                      <a:pt x="834" y="498"/>
                    </a:lnTo>
                    <a:lnTo>
                      <a:pt x="816" y="498"/>
                    </a:lnTo>
                    <a:lnTo>
                      <a:pt x="804" y="504"/>
                    </a:lnTo>
                    <a:lnTo>
                      <a:pt x="798" y="510"/>
                    </a:lnTo>
                    <a:lnTo>
                      <a:pt x="774" y="504"/>
                    </a:lnTo>
                    <a:lnTo>
                      <a:pt x="768" y="510"/>
                    </a:lnTo>
                    <a:lnTo>
                      <a:pt x="744" y="510"/>
                    </a:lnTo>
                    <a:lnTo>
                      <a:pt x="738" y="504"/>
                    </a:lnTo>
                    <a:lnTo>
                      <a:pt x="720" y="504"/>
                    </a:lnTo>
                    <a:lnTo>
                      <a:pt x="720" y="510"/>
                    </a:lnTo>
                    <a:lnTo>
                      <a:pt x="696" y="510"/>
                    </a:lnTo>
                    <a:lnTo>
                      <a:pt x="672" y="486"/>
                    </a:lnTo>
                    <a:lnTo>
                      <a:pt x="666" y="468"/>
                    </a:lnTo>
                    <a:lnTo>
                      <a:pt x="660" y="456"/>
                    </a:lnTo>
                    <a:lnTo>
                      <a:pt x="654" y="450"/>
                    </a:lnTo>
                    <a:lnTo>
                      <a:pt x="654" y="444"/>
                    </a:lnTo>
                    <a:lnTo>
                      <a:pt x="630" y="444"/>
                    </a:lnTo>
                    <a:lnTo>
                      <a:pt x="618" y="438"/>
                    </a:lnTo>
                    <a:lnTo>
                      <a:pt x="612" y="432"/>
                    </a:lnTo>
                    <a:lnTo>
                      <a:pt x="600" y="432"/>
                    </a:lnTo>
                    <a:lnTo>
                      <a:pt x="600" y="438"/>
                    </a:lnTo>
                    <a:lnTo>
                      <a:pt x="594" y="444"/>
                    </a:lnTo>
                    <a:lnTo>
                      <a:pt x="582" y="444"/>
                    </a:lnTo>
                    <a:lnTo>
                      <a:pt x="570" y="438"/>
                    </a:lnTo>
                    <a:lnTo>
                      <a:pt x="564" y="438"/>
                    </a:lnTo>
                    <a:lnTo>
                      <a:pt x="552" y="432"/>
                    </a:lnTo>
                    <a:lnTo>
                      <a:pt x="540" y="432"/>
                    </a:lnTo>
                    <a:lnTo>
                      <a:pt x="534" y="438"/>
                    </a:lnTo>
                    <a:lnTo>
                      <a:pt x="510" y="438"/>
                    </a:lnTo>
                    <a:lnTo>
                      <a:pt x="504" y="432"/>
                    </a:lnTo>
                    <a:lnTo>
                      <a:pt x="498" y="420"/>
                    </a:lnTo>
                    <a:lnTo>
                      <a:pt x="498" y="408"/>
                    </a:lnTo>
                    <a:lnTo>
                      <a:pt x="486" y="408"/>
                    </a:lnTo>
                    <a:lnTo>
                      <a:pt x="486" y="366"/>
                    </a:lnTo>
                    <a:lnTo>
                      <a:pt x="498" y="342"/>
                    </a:lnTo>
                    <a:lnTo>
                      <a:pt x="498" y="330"/>
                    </a:lnTo>
                    <a:lnTo>
                      <a:pt x="492" y="324"/>
                    </a:lnTo>
                    <a:lnTo>
                      <a:pt x="480" y="318"/>
                    </a:lnTo>
                    <a:lnTo>
                      <a:pt x="474" y="312"/>
                    </a:lnTo>
                    <a:lnTo>
                      <a:pt x="474" y="276"/>
                    </a:lnTo>
                    <a:lnTo>
                      <a:pt x="468" y="264"/>
                    </a:lnTo>
                    <a:lnTo>
                      <a:pt x="456" y="252"/>
                    </a:lnTo>
                    <a:lnTo>
                      <a:pt x="450" y="252"/>
                    </a:lnTo>
                    <a:lnTo>
                      <a:pt x="438" y="264"/>
                    </a:lnTo>
                    <a:lnTo>
                      <a:pt x="438" y="270"/>
                    </a:lnTo>
                    <a:lnTo>
                      <a:pt x="432" y="264"/>
                    </a:lnTo>
                    <a:lnTo>
                      <a:pt x="432" y="252"/>
                    </a:lnTo>
                    <a:lnTo>
                      <a:pt x="438" y="240"/>
                    </a:lnTo>
                    <a:lnTo>
                      <a:pt x="462" y="216"/>
                    </a:lnTo>
                    <a:lnTo>
                      <a:pt x="462" y="192"/>
                    </a:lnTo>
                    <a:lnTo>
                      <a:pt x="468" y="186"/>
                    </a:lnTo>
                    <a:lnTo>
                      <a:pt x="468" y="168"/>
                    </a:lnTo>
                    <a:lnTo>
                      <a:pt x="480" y="132"/>
                    </a:lnTo>
                    <a:lnTo>
                      <a:pt x="504" y="108"/>
                    </a:lnTo>
                    <a:lnTo>
                      <a:pt x="522" y="102"/>
                    </a:lnTo>
                    <a:lnTo>
                      <a:pt x="534" y="90"/>
                    </a:lnTo>
                    <a:lnTo>
                      <a:pt x="540" y="78"/>
                    </a:lnTo>
                    <a:lnTo>
                      <a:pt x="540" y="72"/>
                    </a:lnTo>
                    <a:lnTo>
                      <a:pt x="546" y="66"/>
                    </a:lnTo>
                    <a:lnTo>
                      <a:pt x="558" y="66"/>
                    </a:lnTo>
                    <a:lnTo>
                      <a:pt x="564" y="60"/>
                    </a:lnTo>
                    <a:lnTo>
                      <a:pt x="570" y="60"/>
                    </a:lnTo>
                    <a:lnTo>
                      <a:pt x="576" y="54"/>
                    </a:lnTo>
                    <a:lnTo>
                      <a:pt x="582" y="54"/>
                    </a:lnTo>
                    <a:lnTo>
                      <a:pt x="600" y="36"/>
                    </a:lnTo>
                    <a:lnTo>
                      <a:pt x="600" y="12"/>
                    </a:lnTo>
                    <a:lnTo>
                      <a:pt x="594" y="6"/>
                    </a:lnTo>
                    <a:lnTo>
                      <a:pt x="582" y="0"/>
                    </a:lnTo>
                    <a:lnTo>
                      <a:pt x="570" y="6"/>
                    </a:lnTo>
                    <a:lnTo>
                      <a:pt x="546" y="6"/>
                    </a:lnTo>
                    <a:lnTo>
                      <a:pt x="540" y="12"/>
                    </a:lnTo>
                    <a:lnTo>
                      <a:pt x="534" y="12"/>
                    </a:lnTo>
                    <a:lnTo>
                      <a:pt x="522" y="24"/>
                    </a:lnTo>
                    <a:lnTo>
                      <a:pt x="522" y="36"/>
                    </a:lnTo>
                    <a:lnTo>
                      <a:pt x="516" y="48"/>
                    </a:lnTo>
                    <a:lnTo>
                      <a:pt x="504" y="60"/>
                    </a:lnTo>
                    <a:lnTo>
                      <a:pt x="492" y="60"/>
                    </a:lnTo>
                    <a:lnTo>
                      <a:pt x="480" y="54"/>
                    </a:lnTo>
                    <a:lnTo>
                      <a:pt x="474" y="54"/>
                    </a:lnTo>
                    <a:lnTo>
                      <a:pt x="444" y="84"/>
                    </a:lnTo>
                    <a:lnTo>
                      <a:pt x="444" y="90"/>
                    </a:lnTo>
                    <a:lnTo>
                      <a:pt x="408" y="102"/>
                    </a:lnTo>
                    <a:lnTo>
                      <a:pt x="402" y="96"/>
                    </a:lnTo>
                    <a:lnTo>
                      <a:pt x="390" y="90"/>
                    </a:lnTo>
                    <a:lnTo>
                      <a:pt x="384" y="90"/>
                    </a:lnTo>
                    <a:lnTo>
                      <a:pt x="378" y="102"/>
                    </a:lnTo>
                    <a:lnTo>
                      <a:pt x="378" y="120"/>
                    </a:lnTo>
                    <a:lnTo>
                      <a:pt x="372" y="132"/>
                    </a:lnTo>
                    <a:lnTo>
                      <a:pt x="366" y="138"/>
                    </a:lnTo>
                    <a:lnTo>
                      <a:pt x="354" y="138"/>
                    </a:lnTo>
                    <a:lnTo>
                      <a:pt x="354" y="132"/>
                    </a:lnTo>
                    <a:lnTo>
                      <a:pt x="360" y="126"/>
                    </a:lnTo>
                    <a:lnTo>
                      <a:pt x="354" y="120"/>
                    </a:lnTo>
                    <a:lnTo>
                      <a:pt x="342" y="120"/>
                    </a:lnTo>
                    <a:lnTo>
                      <a:pt x="330" y="126"/>
                    </a:lnTo>
                    <a:lnTo>
                      <a:pt x="318" y="126"/>
                    </a:lnTo>
                    <a:lnTo>
                      <a:pt x="312" y="132"/>
                    </a:lnTo>
                    <a:lnTo>
                      <a:pt x="306" y="132"/>
                    </a:lnTo>
                    <a:lnTo>
                      <a:pt x="300" y="144"/>
                    </a:lnTo>
                    <a:lnTo>
                      <a:pt x="288" y="150"/>
                    </a:lnTo>
                    <a:lnTo>
                      <a:pt x="282" y="162"/>
                    </a:lnTo>
                    <a:lnTo>
                      <a:pt x="276" y="168"/>
                    </a:lnTo>
                    <a:lnTo>
                      <a:pt x="276" y="186"/>
                    </a:lnTo>
                    <a:lnTo>
                      <a:pt x="282" y="192"/>
                    </a:lnTo>
                    <a:lnTo>
                      <a:pt x="264" y="222"/>
                    </a:lnTo>
                    <a:lnTo>
                      <a:pt x="276" y="246"/>
                    </a:lnTo>
                    <a:lnTo>
                      <a:pt x="252" y="246"/>
                    </a:lnTo>
                    <a:lnTo>
                      <a:pt x="240" y="252"/>
                    </a:lnTo>
                    <a:lnTo>
                      <a:pt x="228" y="264"/>
                    </a:lnTo>
                    <a:lnTo>
                      <a:pt x="228" y="276"/>
                    </a:lnTo>
                    <a:lnTo>
                      <a:pt x="222" y="288"/>
                    </a:lnTo>
                    <a:lnTo>
                      <a:pt x="216" y="294"/>
                    </a:lnTo>
                    <a:lnTo>
                      <a:pt x="204" y="294"/>
                    </a:lnTo>
                    <a:lnTo>
                      <a:pt x="198" y="300"/>
                    </a:lnTo>
                    <a:lnTo>
                      <a:pt x="192" y="300"/>
                    </a:lnTo>
                    <a:lnTo>
                      <a:pt x="174" y="306"/>
                    </a:lnTo>
                    <a:lnTo>
                      <a:pt x="186" y="330"/>
                    </a:lnTo>
                    <a:lnTo>
                      <a:pt x="186" y="366"/>
                    </a:lnTo>
                    <a:lnTo>
                      <a:pt x="168" y="366"/>
                    </a:lnTo>
                    <a:lnTo>
                      <a:pt x="168" y="360"/>
                    </a:lnTo>
                    <a:lnTo>
                      <a:pt x="174" y="354"/>
                    </a:lnTo>
                    <a:lnTo>
                      <a:pt x="174" y="342"/>
                    </a:lnTo>
                    <a:lnTo>
                      <a:pt x="144" y="312"/>
                    </a:lnTo>
                    <a:lnTo>
                      <a:pt x="138" y="312"/>
                    </a:lnTo>
                    <a:lnTo>
                      <a:pt x="132" y="318"/>
                    </a:lnTo>
                    <a:lnTo>
                      <a:pt x="132" y="336"/>
                    </a:lnTo>
                    <a:lnTo>
                      <a:pt x="138" y="348"/>
                    </a:lnTo>
                    <a:lnTo>
                      <a:pt x="150" y="354"/>
                    </a:lnTo>
                    <a:lnTo>
                      <a:pt x="150" y="366"/>
                    </a:lnTo>
                    <a:lnTo>
                      <a:pt x="138" y="390"/>
                    </a:lnTo>
                    <a:lnTo>
                      <a:pt x="132" y="396"/>
                    </a:lnTo>
                    <a:lnTo>
                      <a:pt x="120" y="390"/>
                    </a:lnTo>
                    <a:lnTo>
                      <a:pt x="114" y="384"/>
                    </a:lnTo>
                    <a:lnTo>
                      <a:pt x="102" y="414"/>
                    </a:lnTo>
                    <a:lnTo>
                      <a:pt x="114" y="438"/>
                    </a:lnTo>
                    <a:lnTo>
                      <a:pt x="114" y="450"/>
                    </a:lnTo>
                    <a:lnTo>
                      <a:pt x="126" y="462"/>
                    </a:lnTo>
                    <a:lnTo>
                      <a:pt x="132" y="474"/>
                    </a:lnTo>
                    <a:lnTo>
                      <a:pt x="132" y="480"/>
                    </a:lnTo>
                    <a:lnTo>
                      <a:pt x="120" y="492"/>
                    </a:lnTo>
                    <a:lnTo>
                      <a:pt x="114" y="492"/>
                    </a:lnTo>
                    <a:lnTo>
                      <a:pt x="132" y="516"/>
                    </a:lnTo>
                    <a:lnTo>
                      <a:pt x="138" y="552"/>
                    </a:lnTo>
                    <a:lnTo>
                      <a:pt x="114" y="558"/>
                    </a:lnTo>
                    <a:lnTo>
                      <a:pt x="132" y="576"/>
                    </a:lnTo>
                    <a:lnTo>
                      <a:pt x="132" y="636"/>
                    </a:lnTo>
                    <a:lnTo>
                      <a:pt x="120" y="642"/>
                    </a:lnTo>
                    <a:lnTo>
                      <a:pt x="114" y="654"/>
                    </a:lnTo>
                    <a:lnTo>
                      <a:pt x="114" y="678"/>
                    </a:lnTo>
                    <a:lnTo>
                      <a:pt x="138" y="702"/>
                    </a:lnTo>
                    <a:lnTo>
                      <a:pt x="138" y="720"/>
                    </a:lnTo>
                    <a:lnTo>
                      <a:pt x="132" y="732"/>
                    </a:lnTo>
                    <a:lnTo>
                      <a:pt x="120" y="738"/>
                    </a:lnTo>
                    <a:lnTo>
                      <a:pt x="114" y="750"/>
                    </a:lnTo>
                    <a:lnTo>
                      <a:pt x="102" y="756"/>
                    </a:lnTo>
                    <a:lnTo>
                      <a:pt x="96" y="762"/>
                    </a:lnTo>
                    <a:lnTo>
                      <a:pt x="114" y="774"/>
                    </a:lnTo>
                    <a:lnTo>
                      <a:pt x="84" y="798"/>
                    </a:lnTo>
                    <a:lnTo>
                      <a:pt x="66" y="798"/>
                    </a:lnTo>
                    <a:lnTo>
                      <a:pt x="54" y="804"/>
                    </a:lnTo>
                    <a:lnTo>
                      <a:pt x="36" y="810"/>
                    </a:lnTo>
                    <a:lnTo>
                      <a:pt x="30" y="822"/>
                    </a:lnTo>
                    <a:lnTo>
                      <a:pt x="30" y="846"/>
                    </a:lnTo>
                    <a:lnTo>
                      <a:pt x="36" y="852"/>
                    </a:lnTo>
                    <a:lnTo>
                      <a:pt x="36" y="858"/>
                    </a:lnTo>
                    <a:lnTo>
                      <a:pt x="6" y="858"/>
                    </a:lnTo>
                    <a:lnTo>
                      <a:pt x="0" y="864"/>
                    </a:lnTo>
                    <a:lnTo>
                      <a:pt x="0" y="876"/>
                    </a:lnTo>
                    <a:lnTo>
                      <a:pt x="6" y="888"/>
                    </a:lnTo>
                    <a:lnTo>
                      <a:pt x="18" y="894"/>
                    </a:lnTo>
                    <a:lnTo>
                      <a:pt x="24" y="906"/>
                    </a:lnTo>
                    <a:lnTo>
                      <a:pt x="36" y="91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8" name="Chile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95486D1-D80F-44A4-BFC6-DC5652A599C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066623" y="1452811"/>
                <a:ext cx="415899" cy="1087840"/>
              </a:xfrm>
              <a:custGeom>
                <a:avLst/>
                <a:gdLst>
                  <a:gd name="T0" fmla="*/ 2147483647 w 1158"/>
                  <a:gd name="T1" fmla="*/ 2147483647 h 3030"/>
                  <a:gd name="T2" fmla="*/ 2147483647 w 1158"/>
                  <a:gd name="T3" fmla="*/ 2147483647 h 3030"/>
                  <a:gd name="T4" fmla="*/ 2147483647 w 1158"/>
                  <a:gd name="T5" fmla="*/ 2147483647 h 3030"/>
                  <a:gd name="T6" fmla="*/ 2147483647 w 1158"/>
                  <a:gd name="T7" fmla="*/ 2147483647 h 3030"/>
                  <a:gd name="T8" fmla="*/ 2147483647 w 1158"/>
                  <a:gd name="T9" fmla="*/ 2147483647 h 3030"/>
                  <a:gd name="T10" fmla="*/ 2147483647 w 1158"/>
                  <a:gd name="T11" fmla="*/ 2147483647 h 3030"/>
                  <a:gd name="T12" fmla="*/ 2147483647 w 1158"/>
                  <a:gd name="T13" fmla="*/ 2147483647 h 3030"/>
                  <a:gd name="T14" fmla="*/ 2147483647 w 1158"/>
                  <a:gd name="T15" fmla="*/ 2147483647 h 3030"/>
                  <a:gd name="T16" fmla="*/ 2147483647 w 1158"/>
                  <a:gd name="T17" fmla="*/ 2147483647 h 3030"/>
                  <a:gd name="T18" fmla="*/ 2147483647 w 1158"/>
                  <a:gd name="T19" fmla="*/ 2147483647 h 3030"/>
                  <a:gd name="T20" fmla="*/ 2147483647 w 1158"/>
                  <a:gd name="T21" fmla="*/ 2147483647 h 3030"/>
                  <a:gd name="T22" fmla="*/ 2147483647 w 1158"/>
                  <a:gd name="T23" fmla="*/ 2147483647 h 3030"/>
                  <a:gd name="T24" fmla="*/ 2147483647 w 1158"/>
                  <a:gd name="T25" fmla="*/ 2147483647 h 3030"/>
                  <a:gd name="T26" fmla="*/ 2147483647 w 1158"/>
                  <a:gd name="T27" fmla="*/ 2147483647 h 3030"/>
                  <a:gd name="T28" fmla="*/ 2147483647 w 1158"/>
                  <a:gd name="T29" fmla="*/ 2147483647 h 3030"/>
                  <a:gd name="T30" fmla="*/ 2147483647 w 1158"/>
                  <a:gd name="T31" fmla="*/ 2147483647 h 3030"/>
                  <a:gd name="T32" fmla="*/ 2147483647 w 1158"/>
                  <a:gd name="T33" fmla="*/ 2147483647 h 3030"/>
                  <a:gd name="T34" fmla="*/ 2147483647 w 1158"/>
                  <a:gd name="T35" fmla="*/ 2147483647 h 3030"/>
                  <a:gd name="T36" fmla="*/ 2147483647 w 1158"/>
                  <a:gd name="T37" fmla="*/ 2147483647 h 3030"/>
                  <a:gd name="T38" fmla="*/ 2147483647 w 1158"/>
                  <a:gd name="T39" fmla="*/ 2147483647 h 3030"/>
                  <a:gd name="T40" fmla="*/ 2147483647 w 1158"/>
                  <a:gd name="T41" fmla="*/ 2147483647 h 3030"/>
                  <a:gd name="T42" fmla="*/ 2147483647 w 1158"/>
                  <a:gd name="T43" fmla="*/ 2147483647 h 3030"/>
                  <a:gd name="T44" fmla="*/ 2147483647 w 1158"/>
                  <a:gd name="T45" fmla="*/ 2147483647 h 3030"/>
                  <a:gd name="T46" fmla="*/ 2147483647 w 1158"/>
                  <a:gd name="T47" fmla="*/ 2147483647 h 3030"/>
                  <a:gd name="T48" fmla="*/ 2147483647 w 1158"/>
                  <a:gd name="T49" fmla="*/ 2147483647 h 3030"/>
                  <a:gd name="T50" fmla="*/ 2147483647 w 1158"/>
                  <a:gd name="T51" fmla="*/ 2147483647 h 3030"/>
                  <a:gd name="T52" fmla="*/ 2147483647 w 1158"/>
                  <a:gd name="T53" fmla="*/ 2147483647 h 3030"/>
                  <a:gd name="T54" fmla="*/ 2147483647 w 1158"/>
                  <a:gd name="T55" fmla="*/ 2147483647 h 3030"/>
                  <a:gd name="T56" fmla="*/ 2147483647 w 1158"/>
                  <a:gd name="T57" fmla="*/ 2147483647 h 3030"/>
                  <a:gd name="T58" fmla="*/ 2147483647 w 1158"/>
                  <a:gd name="T59" fmla="*/ 2147483647 h 3030"/>
                  <a:gd name="T60" fmla="*/ 2147483647 w 1158"/>
                  <a:gd name="T61" fmla="*/ 2147483647 h 3030"/>
                  <a:gd name="T62" fmla="*/ 2147483647 w 1158"/>
                  <a:gd name="T63" fmla="*/ 2147483647 h 3030"/>
                  <a:gd name="T64" fmla="*/ 2147483647 w 1158"/>
                  <a:gd name="T65" fmla="*/ 2147483647 h 3030"/>
                  <a:gd name="T66" fmla="*/ 2147483647 w 1158"/>
                  <a:gd name="T67" fmla="*/ 2147483647 h 3030"/>
                  <a:gd name="T68" fmla="*/ 2147483647 w 1158"/>
                  <a:gd name="T69" fmla="*/ 2147483647 h 3030"/>
                  <a:gd name="T70" fmla="*/ 2147483647 w 1158"/>
                  <a:gd name="T71" fmla="*/ 2147483647 h 3030"/>
                  <a:gd name="T72" fmla="*/ 2147483647 w 1158"/>
                  <a:gd name="T73" fmla="*/ 2147483647 h 3030"/>
                  <a:gd name="T74" fmla="*/ 2147483647 w 1158"/>
                  <a:gd name="T75" fmla="*/ 2147483647 h 3030"/>
                  <a:gd name="T76" fmla="*/ 2147483647 w 1158"/>
                  <a:gd name="T77" fmla="*/ 2147483647 h 3030"/>
                  <a:gd name="T78" fmla="*/ 0 w 1158"/>
                  <a:gd name="T79" fmla="*/ 2147483647 h 3030"/>
                  <a:gd name="T80" fmla="*/ 2147483647 w 1158"/>
                  <a:gd name="T81" fmla="*/ 2147483647 h 3030"/>
                  <a:gd name="T82" fmla="*/ 2147483647 w 1158"/>
                  <a:gd name="T83" fmla="*/ 2147483647 h 3030"/>
                  <a:gd name="T84" fmla="*/ 2147483647 w 1158"/>
                  <a:gd name="T85" fmla="*/ 2147483647 h 3030"/>
                  <a:gd name="T86" fmla="*/ 2147483647 w 1158"/>
                  <a:gd name="T87" fmla="*/ 2147483647 h 3030"/>
                  <a:gd name="T88" fmla="*/ 2147483647 w 1158"/>
                  <a:gd name="T89" fmla="*/ 2147483647 h 3030"/>
                  <a:gd name="T90" fmla="*/ 2147483647 w 1158"/>
                  <a:gd name="T91" fmla="*/ 2147483647 h 3030"/>
                  <a:gd name="T92" fmla="*/ 2147483647 w 1158"/>
                  <a:gd name="T93" fmla="*/ 2147483647 h 3030"/>
                  <a:gd name="T94" fmla="*/ 2147483647 w 1158"/>
                  <a:gd name="T95" fmla="*/ 2147483647 h 3030"/>
                  <a:gd name="T96" fmla="*/ 2147483647 w 1158"/>
                  <a:gd name="T97" fmla="*/ 2147483647 h 3030"/>
                  <a:gd name="T98" fmla="*/ 2147483647 w 1158"/>
                  <a:gd name="T99" fmla="*/ 2147483647 h 3030"/>
                  <a:gd name="T100" fmla="*/ 2147483647 w 1158"/>
                  <a:gd name="T101" fmla="*/ 2147483647 h 3030"/>
                  <a:gd name="T102" fmla="*/ 2147483647 w 1158"/>
                  <a:gd name="T103" fmla="*/ 2147483647 h 3030"/>
                  <a:gd name="T104" fmla="*/ 2147483647 w 1158"/>
                  <a:gd name="T105" fmla="*/ 2147483647 h 3030"/>
                  <a:gd name="T106" fmla="*/ 2147483647 w 1158"/>
                  <a:gd name="T107" fmla="*/ 2147483647 h 3030"/>
                  <a:gd name="T108" fmla="*/ 2147483647 w 1158"/>
                  <a:gd name="T109" fmla="*/ 2147483647 h 3030"/>
                  <a:gd name="T110" fmla="*/ 2147483647 w 1158"/>
                  <a:gd name="T111" fmla="*/ 2147483647 h 3030"/>
                  <a:gd name="T112" fmla="*/ 2147483647 w 1158"/>
                  <a:gd name="T113" fmla="*/ 2147483647 h 3030"/>
                  <a:gd name="T114" fmla="*/ 2147483647 w 1158"/>
                  <a:gd name="T115" fmla="*/ 2147483647 h 3030"/>
                  <a:gd name="T116" fmla="*/ 2147483647 w 1158"/>
                  <a:gd name="T117" fmla="*/ 2147483647 h 3030"/>
                  <a:gd name="T118" fmla="*/ 2147483647 w 1158"/>
                  <a:gd name="T119" fmla="*/ 2147483647 h 3030"/>
                  <a:gd name="T120" fmla="*/ 2147483647 w 1158"/>
                  <a:gd name="T121" fmla="*/ 2147483647 h 3030"/>
                  <a:gd name="T122" fmla="*/ 2147483647 w 1158"/>
                  <a:gd name="T123" fmla="*/ 2147483647 h 303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158"/>
                  <a:gd name="T187" fmla="*/ 0 h 3030"/>
                  <a:gd name="T188" fmla="*/ 1158 w 1158"/>
                  <a:gd name="T189" fmla="*/ 3030 h 303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158" h="3030">
                    <a:moveTo>
                      <a:pt x="1014" y="2910"/>
                    </a:moveTo>
                    <a:lnTo>
                      <a:pt x="984" y="2898"/>
                    </a:lnTo>
                    <a:lnTo>
                      <a:pt x="966" y="2880"/>
                    </a:lnTo>
                    <a:lnTo>
                      <a:pt x="948" y="2874"/>
                    </a:lnTo>
                    <a:lnTo>
                      <a:pt x="942" y="2862"/>
                    </a:lnTo>
                    <a:lnTo>
                      <a:pt x="936" y="2856"/>
                    </a:lnTo>
                    <a:lnTo>
                      <a:pt x="936" y="2850"/>
                    </a:lnTo>
                    <a:lnTo>
                      <a:pt x="906" y="2850"/>
                    </a:lnTo>
                    <a:lnTo>
                      <a:pt x="912" y="2832"/>
                    </a:lnTo>
                    <a:lnTo>
                      <a:pt x="870" y="2796"/>
                    </a:lnTo>
                    <a:lnTo>
                      <a:pt x="840" y="2802"/>
                    </a:lnTo>
                    <a:lnTo>
                      <a:pt x="828" y="2796"/>
                    </a:lnTo>
                    <a:lnTo>
                      <a:pt x="816" y="2808"/>
                    </a:lnTo>
                    <a:lnTo>
                      <a:pt x="792" y="2814"/>
                    </a:lnTo>
                    <a:lnTo>
                      <a:pt x="798" y="2832"/>
                    </a:lnTo>
                    <a:lnTo>
                      <a:pt x="780" y="2832"/>
                    </a:lnTo>
                    <a:lnTo>
                      <a:pt x="780" y="2862"/>
                    </a:lnTo>
                    <a:lnTo>
                      <a:pt x="786" y="2868"/>
                    </a:lnTo>
                    <a:lnTo>
                      <a:pt x="798" y="2868"/>
                    </a:lnTo>
                    <a:lnTo>
                      <a:pt x="810" y="2862"/>
                    </a:lnTo>
                    <a:lnTo>
                      <a:pt x="816" y="2856"/>
                    </a:lnTo>
                    <a:lnTo>
                      <a:pt x="828" y="2850"/>
                    </a:lnTo>
                    <a:lnTo>
                      <a:pt x="834" y="2844"/>
                    </a:lnTo>
                    <a:lnTo>
                      <a:pt x="858" y="2856"/>
                    </a:lnTo>
                    <a:lnTo>
                      <a:pt x="858" y="2874"/>
                    </a:lnTo>
                    <a:lnTo>
                      <a:pt x="846" y="2880"/>
                    </a:lnTo>
                    <a:lnTo>
                      <a:pt x="828" y="2898"/>
                    </a:lnTo>
                    <a:lnTo>
                      <a:pt x="822" y="2898"/>
                    </a:lnTo>
                    <a:lnTo>
                      <a:pt x="828" y="2904"/>
                    </a:lnTo>
                    <a:lnTo>
                      <a:pt x="882" y="2922"/>
                    </a:lnTo>
                    <a:lnTo>
                      <a:pt x="912" y="2928"/>
                    </a:lnTo>
                    <a:lnTo>
                      <a:pt x="924" y="2934"/>
                    </a:lnTo>
                    <a:lnTo>
                      <a:pt x="906" y="2958"/>
                    </a:lnTo>
                    <a:lnTo>
                      <a:pt x="906" y="2952"/>
                    </a:lnTo>
                    <a:lnTo>
                      <a:pt x="894" y="2940"/>
                    </a:lnTo>
                    <a:lnTo>
                      <a:pt x="876" y="2940"/>
                    </a:lnTo>
                    <a:lnTo>
                      <a:pt x="870" y="2946"/>
                    </a:lnTo>
                    <a:lnTo>
                      <a:pt x="870" y="2952"/>
                    </a:lnTo>
                    <a:lnTo>
                      <a:pt x="852" y="2928"/>
                    </a:lnTo>
                    <a:lnTo>
                      <a:pt x="834" y="2934"/>
                    </a:lnTo>
                    <a:lnTo>
                      <a:pt x="846" y="2946"/>
                    </a:lnTo>
                    <a:lnTo>
                      <a:pt x="816" y="2940"/>
                    </a:lnTo>
                    <a:lnTo>
                      <a:pt x="822" y="2946"/>
                    </a:lnTo>
                    <a:lnTo>
                      <a:pt x="828" y="2958"/>
                    </a:lnTo>
                    <a:lnTo>
                      <a:pt x="834" y="2964"/>
                    </a:lnTo>
                    <a:lnTo>
                      <a:pt x="894" y="2964"/>
                    </a:lnTo>
                    <a:lnTo>
                      <a:pt x="906" y="2970"/>
                    </a:lnTo>
                    <a:lnTo>
                      <a:pt x="1050" y="2970"/>
                    </a:lnTo>
                    <a:lnTo>
                      <a:pt x="1074" y="2982"/>
                    </a:lnTo>
                    <a:lnTo>
                      <a:pt x="1080" y="2988"/>
                    </a:lnTo>
                    <a:lnTo>
                      <a:pt x="1086" y="2988"/>
                    </a:lnTo>
                    <a:lnTo>
                      <a:pt x="1122" y="2970"/>
                    </a:lnTo>
                    <a:lnTo>
                      <a:pt x="1140" y="2976"/>
                    </a:lnTo>
                    <a:lnTo>
                      <a:pt x="1152" y="2976"/>
                    </a:lnTo>
                    <a:lnTo>
                      <a:pt x="1158" y="2952"/>
                    </a:lnTo>
                    <a:lnTo>
                      <a:pt x="1140" y="2952"/>
                    </a:lnTo>
                    <a:lnTo>
                      <a:pt x="1086" y="2940"/>
                    </a:lnTo>
                    <a:lnTo>
                      <a:pt x="1014" y="2910"/>
                    </a:lnTo>
                    <a:close/>
                    <a:moveTo>
                      <a:pt x="990" y="2988"/>
                    </a:moveTo>
                    <a:lnTo>
                      <a:pt x="1014" y="3000"/>
                    </a:lnTo>
                    <a:lnTo>
                      <a:pt x="1068" y="3006"/>
                    </a:lnTo>
                    <a:lnTo>
                      <a:pt x="1038" y="2982"/>
                    </a:lnTo>
                    <a:lnTo>
                      <a:pt x="990" y="2988"/>
                    </a:lnTo>
                    <a:close/>
                    <a:moveTo>
                      <a:pt x="960" y="2994"/>
                    </a:moveTo>
                    <a:lnTo>
                      <a:pt x="966" y="2982"/>
                    </a:lnTo>
                    <a:lnTo>
                      <a:pt x="888" y="2982"/>
                    </a:lnTo>
                    <a:lnTo>
                      <a:pt x="906" y="3012"/>
                    </a:lnTo>
                    <a:lnTo>
                      <a:pt x="936" y="3018"/>
                    </a:lnTo>
                    <a:lnTo>
                      <a:pt x="930" y="3006"/>
                    </a:lnTo>
                    <a:lnTo>
                      <a:pt x="936" y="3000"/>
                    </a:lnTo>
                    <a:lnTo>
                      <a:pt x="948" y="3012"/>
                    </a:lnTo>
                    <a:lnTo>
                      <a:pt x="996" y="3012"/>
                    </a:lnTo>
                    <a:lnTo>
                      <a:pt x="1008" y="3030"/>
                    </a:lnTo>
                    <a:lnTo>
                      <a:pt x="1026" y="3030"/>
                    </a:lnTo>
                    <a:lnTo>
                      <a:pt x="996" y="3000"/>
                    </a:lnTo>
                    <a:lnTo>
                      <a:pt x="960" y="2994"/>
                    </a:lnTo>
                    <a:close/>
                    <a:moveTo>
                      <a:pt x="804" y="2946"/>
                    </a:moveTo>
                    <a:lnTo>
                      <a:pt x="744" y="2940"/>
                    </a:lnTo>
                    <a:lnTo>
                      <a:pt x="750" y="2958"/>
                    </a:lnTo>
                    <a:lnTo>
                      <a:pt x="792" y="2958"/>
                    </a:lnTo>
                    <a:lnTo>
                      <a:pt x="804" y="2976"/>
                    </a:lnTo>
                    <a:lnTo>
                      <a:pt x="864" y="3000"/>
                    </a:lnTo>
                    <a:lnTo>
                      <a:pt x="828" y="2970"/>
                    </a:lnTo>
                    <a:lnTo>
                      <a:pt x="804" y="2946"/>
                    </a:lnTo>
                    <a:close/>
                    <a:moveTo>
                      <a:pt x="804" y="2880"/>
                    </a:moveTo>
                    <a:lnTo>
                      <a:pt x="786" y="2898"/>
                    </a:lnTo>
                    <a:lnTo>
                      <a:pt x="792" y="2928"/>
                    </a:lnTo>
                    <a:lnTo>
                      <a:pt x="816" y="2922"/>
                    </a:lnTo>
                    <a:lnTo>
                      <a:pt x="804" y="2880"/>
                    </a:lnTo>
                    <a:close/>
                    <a:moveTo>
                      <a:pt x="774" y="2928"/>
                    </a:moveTo>
                    <a:lnTo>
                      <a:pt x="768" y="2910"/>
                    </a:lnTo>
                    <a:lnTo>
                      <a:pt x="720" y="2898"/>
                    </a:lnTo>
                    <a:lnTo>
                      <a:pt x="708" y="2916"/>
                    </a:lnTo>
                    <a:lnTo>
                      <a:pt x="708" y="2934"/>
                    </a:lnTo>
                    <a:lnTo>
                      <a:pt x="744" y="2922"/>
                    </a:lnTo>
                    <a:lnTo>
                      <a:pt x="774" y="2928"/>
                    </a:lnTo>
                    <a:close/>
                    <a:moveTo>
                      <a:pt x="612" y="2772"/>
                    </a:moveTo>
                    <a:lnTo>
                      <a:pt x="606" y="2766"/>
                    </a:lnTo>
                    <a:lnTo>
                      <a:pt x="594" y="2766"/>
                    </a:lnTo>
                    <a:lnTo>
                      <a:pt x="588" y="2760"/>
                    </a:lnTo>
                    <a:lnTo>
                      <a:pt x="570" y="2760"/>
                    </a:lnTo>
                    <a:lnTo>
                      <a:pt x="570" y="2766"/>
                    </a:lnTo>
                    <a:lnTo>
                      <a:pt x="564" y="2778"/>
                    </a:lnTo>
                    <a:lnTo>
                      <a:pt x="564" y="2808"/>
                    </a:lnTo>
                    <a:lnTo>
                      <a:pt x="570" y="2808"/>
                    </a:lnTo>
                    <a:lnTo>
                      <a:pt x="576" y="2802"/>
                    </a:lnTo>
                    <a:lnTo>
                      <a:pt x="588" y="2802"/>
                    </a:lnTo>
                    <a:lnTo>
                      <a:pt x="594" y="2796"/>
                    </a:lnTo>
                    <a:lnTo>
                      <a:pt x="600" y="2820"/>
                    </a:lnTo>
                    <a:lnTo>
                      <a:pt x="630" y="2808"/>
                    </a:lnTo>
                    <a:lnTo>
                      <a:pt x="612" y="2790"/>
                    </a:lnTo>
                    <a:lnTo>
                      <a:pt x="618" y="2772"/>
                    </a:lnTo>
                    <a:lnTo>
                      <a:pt x="612" y="2772"/>
                    </a:lnTo>
                    <a:close/>
                    <a:moveTo>
                      <a:pt x="552" y="2826"/>
                    </a:moveTo>
                    <a:lnTo>
                      <a:pt x="516" y="2808"/>
                    </a:lnTo>
                    <a:lnTo>
                      <a:pt x="546" y="2832"/>
                    </a:lnTo>
                    <a:lnTo>
                      <a:pt x="588" y="2844"/>
                    </a:lnTo>
                    <a:lnTo>
                      <a:pt x="606" y="2850"/>
                    </a:lnTo>
                    <a:lnTo>
                      <a:pt x="588" y="2832"/>
                    </a:lnTo>
                    <a:lnTo>
                      <a:pt x="552" y="2826"/>
                    </a:lnTo>
                    <a:close/>
                    <a:moveTo>
                      <a:pt x="552" y="2748"/>
                    </a:moveTo>
                    <a:lnTo>
                      <a:pt x="534" y="2730"/>
                    </a:lnTo>
                    <a:lnTo>
                      <a:pt x="528" y="2766"/>
                    </a:lnTo>
                    <a:lnTo>
                      <a:pt x="504" y="2772"/>
                    </a:lnTo>
                    <a:lnTo>
                      <a:pt x="546" y="2784"/>
                    </a:lnTo>
                    <a:lnTo>
                      <a:pt x="552" y="2748"/>
                    </a:lnTo>
                    <a:close/>
                    <a:moveTo>
                      <a:pt x="444" y="2736"/>
                    </a:moveTo>
                    <a:lnTo>
                      <a:pt x="480" y="2772"/>
                    </a:lnTo>
                    <a:lnTo>
                      <a:pt x="492" y="2760"/>
                    </a:lnTo>
                    <a:lnTo>
                      <a:pt x="462" y="2724"/>
                    </a:lnTo>
                    <a:lnTo>
                      <a:pt x="444" y="2736"/>
                    </a:lnTo>
                    <a:close/>
                    <a:moveTo>
                      <a:pt x="516" y="2724"/>
                    </a:moveTo>
                    <a:lnTo>
                      <a:pt x="504" y="2718"/>
                    </a:lnTo>
                    <a:lnTo>
                      <a:pt x="492" y="2730"/>
                    </a:lnTo>
                    <a:lnTo>
                      <a:pt x="504" y="2748"/>
                    </a:lnTo>
                    <a:lnTo>
                      <a:pt x="516" y="2724"/>
                    </a:lnTo>
                    <a:close/>
                    <a:moveTo>
                      <a:pt x="456" y="2706"/>
                    </a:moveTo>
                    <a:lnTo>
                      <a:pt x="462" y="2676"/>
                    </a:lnTo>
                    <a:lnTo>
                      <a:pt x="456" y="2640"/>
                    </a:lnTo>
                    <a:lnTo>
                      <a:pt x="438" y="2634"/>
                    </a:lnTo>
                    <a:lnTo>
                      <a:pt x="438" y="2652"/>
                    </a:lnTo>
                    <a:lnTo>
                      <a:pt x="408" y="2646"/>
                    </a:lnTo>
                    <a:lnTo>
                      <a:pt x="432" y="2682"/>
                    </a:lnTo>
                    <a:lnTo>
                      <a:pt x="426" y="2724"/>
                    </a:lnTo>
                    <a:lnTo>
                      <a:pt x="456" y="2706"/>
                    </a:lnTo>
                    <a:close/>
                    <a:moveTo>
                      <a:pt x="366" y="2622"/>
                    </a:moveTo>
                    <a:lnTo>
                      <a:pt x="384" y="2628"/>
                    </a:lnTo>
                    <a:lnTo>
                      <a:pt x="390" y="2658"/>
                    </a:lnTo>
                    <a:lnTo>
                      <a:pt x="396" y="2628"/>
                    </a:lnTo>
                    <a:lnTo>
                      <a:pt x="402" y="2604"/>
                    </a:lnTo>
                    <a:lnTo>
                      <a:pt x="372" y="2598"/>
                    </a:lnTo>
                    <a:lnTo>
                      <a:pt x="366" y="2622"/>
                    </a:lnTo>
                    <a:close/>
                    <a:moveTo>
                      <a:pt x="372" y="2586"/>
                    </a:moveTo>
                    <a:lnTo>
                      <a:pt x="378" y="2586"/>
                    </a:lnTo>
                    <a:lnTo>
                      <a:pt x="378" y="2580"/>
                    </a:lnTo>
                    <a:lnTo>
                      <a:pt x="384" y="2574"/>
                    </a:lnTo>
                    <a:lnTo>
                      <a:pt x="414" y="2598"/>
                    </a:lnTo>
                    <a:lnTo>
                      <a:pt x="414" y="2574"/>
                    </a:lnTo>
                    <a:lnTo>
                      <a:pt x="384" y="2544"/>
                    </a:lnTo>
                    <a:lnTo>
                      <a:pt x="378" y="2532"/>
                    </a:lnTo>
                    <a:lnTo>
                      <a:pt x="372" y="2526"/>
                    </a:lnTo>
                    <a:lnTo>
                      <a:pt x="360" y="2502"/>
                    </a:lnTo>
                    <a:lnTo>
                      <a:pt x="360" y="2490"/>
                    </a:lnTo>
                    <a:lnTo>
                      <a:pt x="342" y="2454"/>
                    </a:lnTo>
                    <a:lnTo>
                      <a:pt x="330" y="2448"/>
                    </a:lnTo>
                    <a:lnTo>
                      <a:pt x="324" y="2442"/>
                    </a:lnTo>
                    <a:lnTo>
                      <a:pt x="318" y="2442"/>
                    </a:lnTo>
                    <a:lnTo>
                      <a:pt x="312" y="2448"/>
                    </a:lnTo>
                    <a:lnTo>
                      <a:pt x="312" y="2454"/>
                    </a:lnTo>
                    <a:lnTo>
                      <a:pt x="294" y="2448"/>
                    </a:lnTo>
                    <a:lnTo>
                      <a:pt x="288" y="2454"/>
                    </a:lnTo>
                    <a:lnTo>
                      <a:pt x="288" y="2466"/>
                    </a:lnTo>
                    <a:lnTo>
                      <a:pt x="282" y="2472"/>
                    </a:lnTo>
                    <a:lnTo>
                      <a:pt x="282" y="2490"/>
                    </a:lnTo>
                    <a:lnTo>
                      <a:pt x="330" y="2490"/>
                    </a:lnTo>
                    <a:lnTo>
                      <a:pt x="312" y="2532"/>
                    </a:lnTo>
                    <a:lnTo>
                      <a:pt x="324" y="2532"/>
                    </a:lnTo>
                    <a:lnTo>
                      <a:pt x="348" y="2508"/>
                    </a:lnTo>
                    <a:lnTo>
                      <a:pt x="342" y="2532"/>
                    </a:lnTo>
                    <a:lnTo>
                      <a:pt x="342" y="2538"/>
                    </a:lnTo>
                    <a:lnTo>
                      <a:pt x="348" y="2544"/>
                    </a:lnTo>
                    <a:lnTo>
                      <a:pt x="366" y="2580"/>
                    </a:lnTo>
                    <a:lnTo>
                      <a:pt x="366" y="2586"/>
                    </a:lnTo>
                    <a:lnTo>
                      <a:pt x="372" y="2586"/>
                    </a:lnTo>
                    <a:close/>
                    <a:moveTo>
                      <a:pt x="246" y="2082"/>
                    </a:moveTo>
                    <a:lnTo>
                      <a:pt x="246" y="2034"/>
                    </a:lnTo>
                    <a:lnTo>
                      <a:pt x="216" y="2004"/>
                    </a:lnTo>
                    <a:lnTo>
                      <a:pt x="234" y="1992"/>
                    </a:lnTo>
                    <a:lnTo>
                      <a:pt x="210" y="1968"/>
                    </a:lnTo>
                    <a:lnTo>
                      <a:pt x="174" y="1956"/>
                    </a:lnTo>
                    <a:lnTo>
                      <a:pt x="174" y="1986"/>
                    </a:lnTo>
                    <a:lnTo>
                      <a:pt x="180" y="1998"/>
                    </a:lnTo>
                    <a:lnTo>
                      <a:pt x="180" y="2004"/>
                    </a:lnTo>
                    <a:lnTo>
                      <a:pt x="192" y="2016"/>
                    </a:lnTo>
                    <a:lnTo>
                      <a:pt x="198" y="2028"/>
                    </a:lnTo>
                    <a:lnTo>
                      <a:pt x="204" y="2034"/>
                    </a:lnTo>
                    <a:lnTo>
                      <a:pt x="204" y="2046"/>
                    </a:lnTo>
                    <a:lnTo>
                      <a:pt x="198" y="2064"/>
                    </a:lnTo>
                    <a:lnTo>
                      <a:pt x="246" y="2082"/>
                    </a:lnTo>
                    <a:close/>
                    <a:moveTo>
                      <a:pt x="246" y="2178"/>
                    </a:moveTo>
                    <a:lnTo>
                      <a:pt x="258" y="2190"/>
                    </a:lnTo>
                    <a:lnTo>
                      <a:pt x="282" y="2190"/>
                    </a:lnTo>
                    <a:lnTo>
                      <a:pt x="294" y="2172"/>
                    </a:lnTo>
                    <a:lnTo>
                      <a:pt x="264" y="2178"/>
                    </a:lnTo>
                    <a:lnTo>
                      <a:pt x="246" y="2178"/>
                    </a:lnTo>
                    <a:close/>
                    <a:moveTo>
                      <a:pt x="282" y="2220"/>
                    </a:moveTo>
                    <a:lnTo>
                      <a:pt x="282" y="2238"/>
                    </a:lnTo>
                    <a:lnTo>
                      <a:pt x="306" y="2256"/>
                    </a:lnTo>
                    <a:lnTo>
                      <a:pt x="306" y="2232"/>
                    </a:lnTo>
                    <a:lnTo>
                      <a:pt x="294" y="2208"/>
                    </a:lnTo>
                    <a:lnTo>
                      <a:pt x="258" y="2208"/>
                    </a:lnTo>
                    <a:lnTo>
                      <a:pt x="282" y="2220"/>
                    </a:lnTo>
                    <a:close/>
                    <a:moveTo>
                      <a:pt x="318" y="2190"/>
                    </a:moveTo>
                    <a:lnTo>
                      <a:pt x="324" y="2184"/>
                    </a:lnTo>
                    <a:lnTo>
                      <a:pt x="336" y="2178"/>
                    </a:lnTo>
                    <a:lnTo>
                      <a:pt x="348" y="2166"/>
                    </a:lnTo>
                    <a:lnTo>
                      <a:pt x="336" y="2154"/>
                    </a:lnTo>
                    <a:lnTo>
                      <a:pt x="324" y="2154"/>
                    </a:lnTo>
                    <a:lnTo>
                      <a:pt x="312" y="2160"/>
                    </a:lnTo>
                    <a:lnTo>
                      <a:pt x="306" y="2166"/>
                    </a:lnTo>
                    <a:lnTo>
                      <a:pt x="306" y="2184"/>
                    </a:lnTo>
                    <a:lnTo>
                      <a:pt x="312" y="2190"/>
                    </a:lnTo>
                    <a:lnTo>
                      <a:pt x="318" y="2190"/>
                    </a:lnTo>
                    <a:close/>
                    <a:moveTo>
                      <a:pt x="252" y="2112"/>
                    </a:moveTo>
                    <a:lnTo>
                      <a:pt x="240" y="2118"/>
                    </a:lnTo>
                    <a:lnTo>
                      <a:pt x="240" y="2136"/>
                    </a:lnTo>
                    <a:lnTo>
                      <a:pt x="252" y="2136"/>
                    </a:lnTo>
                    <a:lnTo>
                      <a:pt x="264" y="2124"/>
                    </a:lnTo>
                    <a:lnTo>
                      <a:pt x="264" y="2106"/>
                    </a:lnTo>
                    <a:lnTo>
                      <a:pt x="258" y="2106"/>
                    </a:lnTo>
                    <a:lnTo>
                      <a:pt x="252" y="2112"/>
                    </a:lnTo>
                    <a:close/>
                    <a:moveTo>
                      <a:pt x="234" y="2154"/>
                    </a:moveTo>
                    <a:lnTo>
                      <a:pt x="216" y="2154"/>
                    </a:lnTo>
                    <a:lnTo>
                      <a:pt x="228" y="2178"/>
                    </a:lnTo>
                    <a:lnTo>
                      <a:pt x="234" y="2154"/>
                    </a:lnTo>
                    <a:close/>
                    <a:moveTo>
                      <a:pt x="714" y="2874"/>
                    </a:moveTo>
                    <a:lnTo>
                      <a:pt x="726" y="2874"/>
                    </a:lnTo>
                    <a:lnTo>
                      <a:pt x="726" y="2886"/>
                    </a:lnTo>
                    <a:lnTo>
                      <a:pt x="768" y="2886"/>
                    </a:lnTo>
                    <a:lnTo>
                      <a:pt x="774" y="2880"/>
                    </a:lnTo>
                    <a:lnTo>
                      <a:pt x="774" y="2874"/>
                    </a:lnTo>
                    <a:lnTo>
                      <a:pt x="744" y="2844"/>
                    </a:lnTo>
                    <a:lnTo>
                      <a:pt x="744" y="2808"/>
                    </a:lnTo>
                    <a:lnTo>
                      <a:pt x="786" y="2802"/>
                    </a:lnTo>
                    <a:lnTo>
                      <a:pt x="780" y="2790"/>
                    </a:lnTo>
                    <a:lnTo>
                      <a:pt x="804" y="2790"/>
                    </a:lnTo>
                    <a:lnTo>
                      <a:pt x="816" y="2772"/>
                    </a:lnTo>
                    <a:lnTo>
                      <a:pt x="792" y="2754"/>
                    </a:lnTo>
                    <a:lnTo>
                      <a:pt x="696" y="2754"/>
                    </a:lnTo>
                    <a:lnTo>
                      <a:pt x="684" y="2760"/>
                    </a:lnTo>
                    <a:lnTo>
                      <a:pt x="672" y="2760"/>
                    </a:lnTo>
                    <a:lnTo>
                      <a:pt x="654" y="2742"/>
                    </a:lnTo>
                    <a:lnTo>
                      <a:pt x="618" y="2724"/>
                    </a:lnTo>
                    <a:lnTo>
                      <a:pt x="606" y="2706"/>
                    </a:lnTo>
                    <a:lnTo>
                      <a:pt x="588" y="2682"/>
                    </a:lnTo>
                    <a:lnTo>
                      <a:pt x="588" y="2658"/>
                    </a:lnTo>
                    <a:lnTo>
                      <a:pt x="576" y="2646"/>
                    </a:lnTo>
                    <a:lnTo>
                      <a:pt x="564" y="2640"/>
                    </a:lnTo>
                    <a:lnTo>
                      <a:pt x="546" y="2640"/>
                    </a:lnTo>
                    <a:lnTo>
                      <a:pt x="534" y="2652"/>
                    </a:lnTo>
                    <a:lnTo>
                      <a:pt x="528" y="2652"/>
                    </a:lnTo>
                    <a:lnTo>
                      <a:pt x="516" y="2646"/>
                    </a:lnTo>
                    <a:lnTo>
                      <a:pt x="510" y="2640"/>
                    </a:lnTo>
                    <a:lnTo>
                      <a:pt x="510" y="2628"/>
                    </a:lnTo>
                    <a:lnTo>
                      <a:pt x="504" y="2622"/>
                    </a:lnTo>
                    <a:lnTo>
                      <a:pt x="504" y="2616"/>
                    </a:lnTo>
                    <a:lnTo>
                      <a:pt x="474" y="2610"/>
                    </a:lnTo>
                    <a:lnTo>
                      <a:pt x="474" y="2574"/>
                    </a:lnTo>
                    <a:lnTo>
                      <a:pt x="468" y="2568"/>
                    </a:lnTo>
                    <a:lnTo>
                      <a:pt x="462" y="2556"/>
                    </a:lnTo>
                    <a:lnTo>
                      <a:pt x="462" y="2544"/>
                    </a:lnTo>
                    <a:lnTo>
                      <a:pt x="474" y="2538"/>
                    </a:lnTo>
                    <a:lnTo>
                      <a:pt x="474" y="2514"/>
                    </a:lnTo>
                    <a:lnTo>
                      <a:pt x="480" y="2514"/>
                    </a:lnTo>
                    <a:lnTo>
                      <a:pt x="486" y="2508"/>
                    </a:lnTo>
                    <a:lnTo>
                      <a:pt x="492" y="2508"/>
                    </a:lnTo>
                    <a:lnTo>
                      <a:pt x="498" y="2502"/>
                    </a:lnTo>
                    <a:lnTo>
                      <a:pt x="498" y="2496"/>
                    </a:lnTo>
                    <a:lnTo>
                      <a:pt x="474" y="2472"/>
                    </a:lnTo>
                    <a:lnTo>
                      <a:pt x="480" y="2466"/>
                    </a:lnTo>
                    <a:lnTo>
                      <a:pt x="492" y="2460"/>
                    </a:lnTo>
                    <a:lnTo>
                      <a:pt x="498" y="2460"/>
                    </a:lnTo>
                    <a:lnTo>
                      <a:pt x="498" y="2454"/>
                    </a:lnTo>
                    <a:lnTo>
                      <a:pt x="474" y="2430"/>
                    </a:lnTo>
                    <a:lnTo>
                      <a:pt x="468" y="2430"/>
                    </a:lnTo>
                    <a:lnTo>
                      <a:pt x="474" y="2388"/>
                    </a:lnTo>
                    <a:lnTo>
                      <a:pt x="486" y="2382"/>
                    </a:lnTo>
                    <a:lnTo>
                      <a:pt x="474" y="2358"/>
                    </a:lnTo>
                    <a:lnTo>
                      <a:pt x="480" y="2322"/>
                    </a:lnTo>
                    <a:lnTo>
                      <a:pt x="456" y="2298"/>
                    </a:lnTo>
                    <a:lnTo>
                      <a:pt x="462" y="2274"/>
                    </a:lnTo>
                    <a:lnTo>
                      <a:pt x="438" y="2256"/>
                    </a:lnTo>
                    <a:lnTo>
                      <a:pt x="450" y="2244"/>
                    </a:lnTo>
                    <a:lnTo>
                      <a:pt x="456" y="2232"/>
                    </a:lnTo>
                    <a:lnTo>
                      <a:pt x="462" y="2226"/>
                    </a:lnTo>
                    <a:lnTo>
                      <a:pt x="438" y="2202"/>
                    </a:lnTo>
                    <a:lnTo>
                      <a:pt x="426" y="2202"/>
                    </a:lnTo>
                    <a:lnTo>
                      <a:pt x="420" y="2196"/>
                    </a:lnTo>
                    <a:lnTo>
                      <a:pt x="408" y="2190"/>
                    </a:lnTo>
                    <a:lnTo>
                      <a:pt x="402" y="2190"/>
                    </a:lnTo>
                    <a:lnTo>
                      <a:pt x="396" y="2184"/>
                    </a:lnTo>
                    <a:lnTo>
                      <a:pt x="414" y="2184"/>
                    </a:lnTo>
                    <a:lnTo>
                      <a:pt x="426" y="2178"/>
                    </a:lnTo>
                    <a:lnTo>
                      <a:pt x="438" y="2178"/>
                    </a:lnTo>
                    <a:lnTo>
                      <a:pt x="444" y="2172"/>
                    </a:lnTo>
                    <a:lnTo>
                      <a:pt x="444" y="2166"/>
                    </a:lnTo>
                    <a:lnTo>
                      <a:pt x="432" y="2160"/>
                    </a:lnTo>
                    <a:lnTo>
                      <a:pt x="402" y="2160"/>
                    </a:lnTo>
                    <a:lnTo>
                      <a:pt x="390" y="2148"/>
                    </a:lnTo>
                    <a:lnTo>
                      <a:pt x="390" y="2118"/>
                    </a:lnTo>
                    <a:lnTo>
                      <a:pt x="384" y="2106"/>
                    </a:lnTo>
                    <a:lnTo>
                      <a:pt x="384" y="2100"/>
                    </a:lnTo>
                    <a:lnTo>
                      <a:pt x="378" y="2094"/>
                    </a:lnTo>
                    <a:lnTo>
                      <a:pt x="366" y="2088"/>
                    </a:lnTo>
                    <a:lnTo>
                      <a:pt x="360" y="2088"/>
                    </a:lnTo>
                    <a:lnTo>
                      <a:pt x="366" y="2058"/>
                    </a:lnTo>
                    <a:lnTo>
                      <a:pt x="342" y="2046"/>
                    </a:lnTo>
                    <a:lnTo>
                      <a:pt x="336" y="2040"/>
                    </a:lnTo>
                    <a:lnTo>
                      <a:pt x="336" y="2028"/>
                    </a:lnTo>
                    <a:lnTo>
                      <a:pt x="330" y="2016"/>
                    </a:lnTo>
                    <a:lnTo>
                      <a:pt x="330" y="1998"/>
                    </a:lnTo>
                    <a:lnTo>
                      <a:pt x="324" y="1986"/>
                    </a:lnTo>
                    <a:lnTo>
                      <a:pt x="324" y="1974"/>
                    </a:lnTo>
                    <a:lnTo>
                      <a:pt x="330" y="1968"/>
                    </a:lnTo>
                    <a:lnTo>
                      <a:pt x="342" y="1962"/>
                    </a:lnTo>
                    <a:lnTo>
                      <a:pt x="348" y="1962"/>
                    </a:lnTo>
                    <a:lnTo>
                      <a:pt x="336" y="1950"/>
                    </a:lnTo>
                    <a:lnTo>
                      <a:pt x="324" y="1944"/>
                    </a:lnTo>
                    <a:lnTo>
                      <a:pt x="306" y="1926"/>
                    </a:lnTo>
                    <a:lnTo>
                      <a:pt x="300" y="1914"/>
                    </a:lnTo>
                    <a:lnTo>
                      <a:pt x="300" y="1890"/>
                    </a:lnTo>
                    <a:lnTo>
                      <a:pt x="294" y="1878"/>
                    </a:lnTo>
                    <a:lnTo>
                      <a:pt x="288" y="1872"/>
                    </a:lnTo>
                    <a:lnTo>
                      <a:pt x="288" y="1842"/>
                    </a:lnTo>
                    <a:lnTo>
                      <a:pt x="294" y="1836"/>
                    </a:lnTo>
                    <a:lnTo>
                      <a:pt x="294" y="1824"/>
                    </a:lnTo>
                    <a:lnTo>
                      <a:pt x="276" y="1812"/>
                    </a:lnTo>
                    <a:lnTo>
                      <a:pt x="276" y="1806"/>
                    </a:lnTo>
                    <a:lnTo>
                      <a:pt x="282" y="1794"/>
                    </a:lnTo>
                    <a:lnTo>
                      <a:pt x="282" y="1788"/>
                    </a:lnTo>
                    <a:lnTo>
                      <a:pt x="264" y="1770"/>
                    </a:lnTo>
                    <a:lnTo>
                      <a:pt x="282" y="1758"/>
                    </a:lnTo>
                    <a:lnTo>
                      <a:pt x="270" y="1716"/>
                    </a:lnTo>
                    <a:lnTo>
                      <a:pt x="276" y="1716"/>
                    </a:lnTo>
                    <a:lnTo>
                      <a:pt x="282" y="1710"/>
                    </a:lnTo>
                    <a:lnTo>
                      <a:pt x="294" y="1704"/>
                    </a:lnTo>
                    <a:lnTo>
                      <a:pt x="300" y="1692"/>
                    </a:lnTo>
                    <a:lnTo>
                      <a:pt x="300" y="1686"/>
                    </a:lnTo>
                    <a:lnTo>
                      <a:pt x="282" y="1668"/>
                    </a:lnTo>
                    <a:lnTo>
                      <a:pt x="276" y="1668"/>
                    </a:lnTo>
                    <a:lnTo>
                      <a:pt x="276" y="1650"/>
                    </a:lnTo>
                    <a:lnTo>
                      <a:pt x="246" y="1626"/>
                    </a:lnTo>
                    <a:lnTo>
                      <a:pt x="246" y="1578"/>
                    </a:lnTo>
                    <a:lnTo>
                      <a:pt x="240" y="1566"/>
                    </a:lnTo>
                    <a:lnTo>
                      <a:pt x="234" y="1548"/>
                    </a:lnTo>
                    <a:lnTo>
                      <a:pt x="234" y="1536"/>
                    </a:lnTo>
                    <a:lnTo>
                      <a:pt x="228" y="1530"/>
                    </a:lnTo>
                    <a:lnTo>
                      <a:pt x="228" y="1524"/>
                    </a:lnTo>
                    <a:lnTo>
                      <a:pt x="252" y="1518"/>
                    </a:lnTo>
                    <a:lnTo>
                      <a:pt x="258" y="1500"/>
                    </a:lnTo>
                    <a:lnTo>
                      <a:pt x="258" y="1494"/>
                    </a:lnTo>
                    <a:lnTo>
                      <a:pt x="264" y="1482"/>
                    </a:lnTo>
                    <a:lnTo>
                      <a:pt x="264" y="1470"/>
                    </a:lnTo>
                    <a:lnTo>
                      <a:pt x="258" y="1464"/>
                    </a:lnTo>
                    <a:lnTo>
                      <a:pt x="252" y="1452"/>
                    </a:lnTo>
                    <a:lnTo>
                      <a:pt x="246" y="1446"/>
                    </a:lnTo>
                    <a:lnTo>
                      <a:pt x="240" y="1434"/>
                    </a:lnTo>
                    <a:lnTo>
                      <a:pt x="234" y="1428"/>
                    </a:lnTo>
                    <a:lnTo>
                      <a:pt x="246" y="1428"/>
                    </a:lnTo>
                    <a:lnTo>
                      <a:pt x="246" y="1398"/>
                    </a:lnTo>
                    <a:lnTo>
                      <a:pt x="252" y="1380"/>
                    </a:lnTo>
                    <a:lnTo>
                      <a:pt x="252" y="1356"/>
                    </a:lnTo>
                    <a:lnTo>
                      <a:pt x="270" y="1338"/>
                    </a:lnTo>
                    <a:lnTo>
                      <a:pt x="270" y="1332"/>
                    </a:lnTo>
                    <a:lnTo>
                      <a:pt x="264" y="1320"/>
                    </a:lnTo>
                    <a:lnTo>
                      <a:pt x="258" y="1314"/>
                    </a:lnTo>
                    <a:lnTo>
                      <a:pt x="252" y="1302"/>
                    </a:lnTo>
                    <a:lnTo>
                      <a:pt x="246" y="1260"/>
                    </a:lnTo>
                    <a:lnTo>
                      <a:pt x="222" y="1260"/>
                    </a:lnTo>
                    <a:lnTo>
                      <a:pt x="210" y="1248"/>
                    </a:lnTo>
                    <a:lnTo>
                      <a:pt x="210" y="1236"/>
                    </a:lnTo>
                    <a:lnTo>
                      <a:pt x="216" y="1230"/>
                    </a:lnTo>
                    <a:lnTo>
                      <a:pt x="210" y="1218"/>
                    </a:lnTo>
                    <a:lnTo>
                      <a:pt x="198" y="1188"/>
                    </a:lnTo>
                    <a:lnTo>
                      <a:pt x="180" y="1170"/>
                    </a:lnTo>
                    <a:lnTo>
                      <a:pt x="180" y="1164"/>
                    </a:lnTo>
                    <a:lnTo>
                      <a:pt x="186" y="1158"/>
                    </a:lnTo>
                    <a:lnTo>
                      <a:pt x="186" y="1146"/>
                    </a:lnTo>
                    <a:lnTo>
                      <a:pt x="168" y="1128"/>
                    </a:lnTo>
                    <a:lnTo>
                      <a:pt x="156" y="1122"/>
                    </a:lnTo>
                    <a:lnTo>
                      <a:pt x="156" y="1116"/>
                    </a:lnTo>
                    <a:lnTo>
                      <a:pt x="150" y="1110"/>
                    </a:lnTo>
                    <a:lnTo>
                      <a:pt x="150" y="1086"/>
                    </a:lnTo>
                    <a:lnTo>
                      <a:pt x="156" y="1086"/>
                    </a:lnTo>
                    <a:lnTo>
                      <a:pt x="168" y="1080"/>
                    </a:lnTo>
                    <a:lnTo>
                      <a:pt x="162" y="1026"/>
                    </a:lnTo>
                    <a:lnTo>
                      <a:pt x="186" y="1026"/>
                    </a:lnTo>
                    <a:lnTo>
                      <a:pt x="186" y="1020"/>
                    </a:lnTo>
                    <a:lnTo>
                      <a:pt x="180" y="1008"/>
                    </a:lnTo>
                    <a:lnTo>
                      <a:pt x="168" y="972"/>
                    </a:lnTo>
                    <a:lnTo>
                      <a:pt x="156" y="948"/>
                    </a:lnTo>
                    <a:lnTo>
                      <a:pt x="156" y="936"/>
                    </a:lnTo>
                    <a:lnTo>
                      <a:pt x="168" y="924"/>
                    </a:lnTo>
                    <a:lnTo>
                      <a:pt x="168" y="858"/>
                    </a:lnTo>
                    <a:lnTo>
                      <a:pt x="174" y="852"/>
                    </a:lnTo>
                    <a:lnTo>
                      <a:pt x="180" y="840"/>
                    </a:lnTo>
                    <a:lnTo>
                      <a:pt x="192" y="828"/>
                    </a:lnTo>
                    <a:lnTo>
                      <a:pt x="192" y="816"/>
                    </a:lnTo>
                    <a:lnTo>
                      <a:pt x="198" y="804"/>
                    </a:lnTo>
                    <a:lnTo>
                      <a:pt x="198" y="792"/>
                    </a:lnTo>
                    <a:lnTo>
                      <a:pt x="204" y="774"/>
                    </a:lnTo>
                    <a:lnTo>
                      <a:pt x="204" y="762"/>
                    </a:lnTo>
                    <a:lnTo>
                      <a:pt x="222" y="762"/>
                    </a:lnTo>
                    <a:lnTo>
                      <a:pt x="228" y="756"/>
                    </a:lnTo>
                    <a:lnTo>
                      <a:pt x="240" y="750"/>
                    </a:lnTo>
                    <a:lnTo>
                      <a:pt x="240" y="738"/>
                    </a:lnTo>
                    <a:lnTo>
                      <a:pt x="234" y="726"/>
                    </a:lnTo>
                    <a:lnTo>
                      <a:pt x="210" y="714"/>
                    </a:lnTo>
                    <a:lnTo>
                      <a:pt x="204" y="708"/>
                    </a:lnTo>
                    <a:lnTo>
                      <a:pt x="198" y="708"/>
                    </a:lnTo>
                    <a:lnTo>
                      <a:pt x="204" y="708"/>
                    </a:lnTo>
                    <a:lnTo>
                      <a:pt x="216" y="696"/>
                    </a:lnTo>
                    <a:lnTo>
                      <a:pt x="222" y="684"/>
                    </a:lnTo>
                    <a:lnTo>
                      <a:pt x="228" y="678"/>
                    </a:lnTo>
                    <a:lnTo>
                      <a:pt x="222" y="666"/>
                    </a:lnTo>
                    <a:lnTo>
                      <a:pt x="210" y="654"/>
                    </a:lnTo>
                    <a:lnTo>
                      <a:pt x="198" y="648"/>
                    </a:lnTo>
                    <a:lnTo>
                      <a:pt x="192" y="642"/>
                    </a:lnTo>
                    <a:lnTo>
                      <a:pt x="192" y="624"/>
                    </a:lnTo>
                    <a:lnTo>
                      <a:pt x="216" y="600"/>
                    </a:lnTo>
                    <a:lnTo>
                      <a:pt x="216" y="594"/>
                    </a:lnTo>
                    <a:lnTo>
                      <a:pt x="204" y="594"/>
                    </a:lnTo>
                    <a:lnTo>
                      <a:pt x="192" y="588"/>
                    </a:lnTo>
                    <a:lnTo>
                      <a:pt x="186" y="582"/>
                    </a:lnTo>
                    <a:lnTo>
                      <a:pt x="186" y="576"/>
                    </a:lnTo>
                    <a:lnTo>
                      <a:pt x="192" y="570"/>
                    </a:lnTo>
                    <a:lnTo>
                      <a:pt x="198" y="558"/>
                    </a:lnTo>
                    <a:lnTo>
                      <a:pt x="210" y="552"/>
                    </a:lnTo>
                    <a:lnTo>
                      <a:pt x="222" y="540"/>
                    </a:lnTo>
                    <a:lnTo>
                      <a:pt x="240" y="534"/>
                    </a:lnTo>
                    <a:lnTo>
                      <a:pt x="252" y="528"/>
                    </a:lnTo>
                    <a:lnTo>
                      <a:pt x="258" y="522"/>
                    </a:lnTo>
                    <a:lnTo>
                      <a:pt x="264" y="522"/>
                    </a:lnTo>
                    <a:lnTo>
                      <a:pt x="276" y="438"/>
                    </a:lnTo>
                    <a:lnTo>
                      <a:pt x="264" y="420"/>
                    </a:lnTo>
                    <a:lnTo>
                      <a:pt x="222" y="420"/>
                    </a:lnTo>
                    <a:lnTo>
                      <a:pt x="216" y="408"/>
                    </a:lnTo>
                    <a:lnTo>
                      <a:pt x="216" y="384"/>
                    </a:lnTo>
                    <a:lnTo>
                      <a:pt x="192" y="360"/>
                    </a:lnTo>
                    <a:lnTo>
                      <a:pt x="192" y="294"/>
                    </a:lnTo>
                    <a:lnTo>
                      <a:pt x="186" y="288"/>
                    </a:lnTo>
                    <a:lnTo>
                      <a:pt x="174" y="282"/>
                    </a:lnTo>
                    <a:lnTo>
                      <a:pt x="168" y="276"/>
                    </a:lnTo>
                    <a:lnTo>
                      <a:pt x="156" y="270"/>
                    </a:lnTo>
                    <a:lnTo>
                      <a:pt x="150" y="264"/>
                    </a:lnTo>
                    <a:lnTo>
                      <a:pt x="144" y="264"/>
                    </a:lnTo>
                    <a:lnTo>
                      <a:pt x="144" y="240"/>
                    </a:lnTo>
                    <a:lnTo>
                      <a:pt x="138" y="234"/>
                    </a:lnTo>
                    <a:lnTo>
                      <a:pt x="132" y="222"/>
                    </a:lnTo>
                    <a:lnTo>
                      <a:pt x="132" y="210"/>
                    </a:lnTo>
                    <a:lnTo>
                      <a:pt x="138" y="204"/>
                    </a:lnTo>
                    <a:lnTo>
                      <a:pt x="144" y="192"/>
                    </a:lnTo>
                    <a:lnTo>
                      <a:pt x="150" y="186"/>
                    </a:lnTo>
                    <a:lnTo>
                      <a:pt x="132" y="168"/>
                    </a:lnTo>
                    <a:lnTo>
                      <a:pt x="144" y="156"/>
                    </a:lnTo>
                    <a:lnTo>
                      <a:pt x="150" y="144"/>
                    </a:lnTo>
                    <a:lnTo>
                      <a:pt x="150" y="138"/>
                    </a:lnTo>
                    <a:lnTo>
                      <a:pt x="144" y="126"/>
                    </a:lnTo>
                    <a:lnTo>
                      <a:pt x="120" y="114"/>
                    </a:lnTo>
                    <a:lnTo>
                      <a:pt x="114" y="114"/>
                    </a:lnTo>
                    <a:lnTo>
                      <a:pt x="102" y="108"/>
                    </a:lnTo>
                    <a:lnTo>
                      <a:pt x="90" y="30"/>
                    </a:lnTo>
                    <a:lnTo>
                      <a:pt x="66" y="30"/>
                    </a:lnTo>
                    <a:lnTo>
                      <a:pt x="48" y="0"/>
                    </a:lnTo>
                    <a:lnTo>
                      <a:pt x="36" y="6"/>
                    </a:lnTo>
                    <a:lnTo>
                      <a:pt x="42" y="18"/>
                    </a:lnTo>
                    <a:lnTo>
                      <a:pt x="42" y="36"/>
                    </a:lnTo>
                    <a:lnTo>
                      <a:pt x="36" y="42"/>
                    </a:lnTo>
                    <a:lnTo>
                      <a:pt x="0" y="66"/>
                    </a:lnTo>
                    <a:lnTo>
                      <a:pt x="0" y="108"/>
                    </a:lnTo>
                    <a:lnTo>
                      <a:pt x="24" y="156"/>
                    </a:lnTo>
                    <a:lnTo>
                      <a:pt x="30" y="174"/>
                    </a:lnTo>
                    <a:lnTo>
                      <a:pt x="36" y="228"/>
                    </a:lnTo>
                    <a:lnTo>
                      <a:pt x="36" y="282"/>
                    </a:lnTo>
                    <a:lnTo>
                      <a:pt x="48" y="318"/>
                    </a:lnTo>
                    <a:lnTo>
                      <a:pt x="48" y="360"/>
                    </a:lnTo>
                    <a:lnTo>
                      <a:pt x="54" y="384"/>
                    </a:lnTo>
                    <a:lnTo>
                      <a:pt x="54" y="432"/>
                    </a:lnTo>
                    <a:lnTo>
                      <a:pt x="30" y="444"/>
                    </a:lnTo>
                    <a:lnTo>
                      <a:pt x="36" y="474"/>
                    </a:lnTo>
                    <a:lnTo>
                      <a:pt x="54" y="486"/>
                    </a:lnTo>
                    <a:lnTo>
                      <a:pt x="48" y="582"/>
                    </a:lnTo>
                    <a:lnTo>
                      <a:pt x="72" y="624"/>
                    </a:lnTo>
                    <a:lnTo>
                      <a:pt x="54" y="642"/>
                    </a:lnTo>
                    <a:lnTo>
                      <a:pt x="60" y="702"/>
                    </a:lnTo>
                    <a:lnTo>
                      <a:pt x="66" y="708"/>
                    </a:lnTo>
                    <a:lnTo>
                      <a:pt x="78" y="732"/>
                    </a:lnTo>
                    <a:lnTo>
                      <a:pt x="78" y="744"/>
                    </a:lnTo>
                    <a:lnTo>
                      <a:pt x="72" y="756"/>
                    </a:lnTo>
                    <a:lnTo>
                      <a:pt x="66" y="762"/>
                    </a:lnTo>
                    <a:lnTo>
                      <a:pt x="60" y="762"/>
                    </a:lnTo>
                    <a:lnTo>
                      <a:pt x="60" y="792"/>
                    </a:lnTo>
                    <a:lnTo>
                      <a:pt x="72" y="810"/>
                    </a:lnTo>
                    <a:lnTo>
                      <a:pt x="60" y="822"/>
                    </a:lnTo>
                    <a:lnTo>
                      <a:pt x="48" y="846"/>
                    </a:lnTo>
                    <a:lnTo>
                      <a:pt x="48" y="852"/>
                    </a:lnTo>
                    <a:lnTo>
                      <a:pt x="60" y="852"/>
                    </a:lnTo>
                    <a:lnTo>
                      <a:pt x="60" y="864"/>
                    </a:lnTo>
                    <a:lnTo>
                      <a:pt x="66" y="870"/>
                    </a:lnTo>
                    <a:lnTo>
                      <a:pt x="66" y="888"/>
                    </a:lnTo>
                    <a:lnTo>
                      <a:pt x="54" y="900"/>
                    </a:lnTo>
                    <a:lnTo>
                      <a:pt x="54" y="906"/>
                    </a:lnTo>
                    <a:lnTo>
                      <a:pt x="48" y="912"/>
                    </a:lnTo>
                    <a:lnTo>
                      <a:pt x="48" y="936"/>
                    </a:lnTo>
                    <a:lnTo>
                      <a:pt x="54" y="948"/>
                    </a:lnTo>
                    <a:lnTo>
                      <a:pt x="60" y="954"/>
                    </a:lnTo>
                    <a:lnTo>
                      <a:pt x="66" y="954"/>
                    </a:lnTo>
                    <a:lnTo>
                      <a:pt x="78" y="966"/>
                    </a:lnTo>
                    <a:lnTo>
                      <a:pt x="78" y="1020"/>
                    </a:lnTo>
                    <a:lnTo>
                      <a:pt x="60" y="1020"/>
                    </a:lnTo>
                    <a:lnTo>
                      <a:pt x="60" y="1044"/>
                    </a:lnTo>
                    <a:lnTo>
                      <a:pt x="66" y="1056"/>
                    </a:lnTo>
                    <a:lnTo>
                      <a:pt x="90" y="1128"/>
                    </a:lnTo>
                    <a:lnTo>
                      <a:pt x="96" y="1140"/>
                    </a:lnTo>
                    <a:lnTo>
                      <a:pt x="102" y="1146"/>
                    </a:lnTo>
                    <a:lnTo>
                      <a:pt x="102" y="1164"/>
                    </a:lnTo>
                    <a:lnTo>
                      <a:pt x="108" y="1170"/>
                    </a:lnTo>
                    <a:lnTo>
                      <a:pt x="114" y="1182"/>
                    </a:lnTo>
                    <a:lnTo>
                      <a:pt x="120" y="1188"/>
                    </a:lnTo>
                    <a:lnTo>
                      <a:pt x="120" y="1236"/>
                    </a:lnTo>
                    <a:lnTo>
                      <a:pt x="114" y="1266"/>
                    </a:lnTo>
                    <a:lnTo>
                      <a:pt x="138" y="1290"/>
                    </a:lnTo>
                    <a:lnTo>
                      <a:pt x="138" y="1296"/>
                    </a:lnTo>
                    <a:lnTo>
                      <a:pt x="132" y="1302"/>
                    </a:lnTo>
                    <a:lnTo>
                      <a:pt x="126" y="1314"/>
                    </a:lnTo>
                    <a:lnTo>
                      <a:pt x="126" y="1326"/>
                    </a:lnTo>
                    <a:lnTo>
                      <a:pt x="120" y="1338"/>
                    </a:lnTo>
                    <a:lnTo>
                      <a:pt x="120" y="1416"/>
                    </a:lnTo>
                    <a:lnTo>
                      <a:pt x="102" y="1452"/>
                    </a:lnTo>
                    <a:lnTo>
                      <a:pt x="114" y="1464"/>
                    </a:lnTo>
                    <a:lnTo>
                      <a:pt x="114" y="1470"/>
                    </a:lnTo>
                    <a:lnTo>
                      <a:pt x="108" y="1476"/>
                    </a:lnTo>
                    <a:lnTo>
                      <a:pt x="108" y="1536"/>
                    </a:lnTo>
                    <a:lnTo>
                      <a:pt x="102" y="1554"/>
                    </a:lnTo>
                    <a:lnTo>
                      <a:pt x="102" y="1578"/>
                    </a:lnTo>
                    <a:lnTo>
                      <a:pt x="84" y="1584"/>
                    </a:lnTo>
                    <a:lnTo>
                      <a:pt x="84" y="1608"/>
                    </a:lnTo>
                    <a:lnTo>
                      <a:pt x="108" y="1650"/>
                    </a:lnTo>
                    <a:lnTo>
                      <a:pt x="108" y="1692"/>
                    </a:lnTo>
                    <a:lnTo>
                      <a:pt x="114" y="1704"/>
                    </a:lnTo>
                    <a:lnTo>
                      <a:pt x="144" y="1734"/>
                    </a:lnTo>
                    <a:lnTo>
                      <a:pt x="156" y="1758"/>
                    </a:lnTo>
                    <a:lnTo>
                      <a:pt x="156" y="1800"/>
                    </a:lnTo>
                    <a:lnTo>
                      <a:pt x="150" y="1812"/>
                    </a:lnTo>
                    <a:lnTo>
                      <a:pt x="150" y="1824"/>
                    </a:lnTo>
                    <a:lnTo>
                      <a:pt x="162" y="1836"/>
                    </a:lnTo>
                    <a:lnTo>
                      <a:pt x="162" y="1896"/>
                    </a:lnTo>
                    <a:lnTo>
                      <a:pt x="168" y="1908"/>
                    </a:lnTo>
                    <a:lnTo>
                      <a:pt x="174" y="1914"/>
                    </a:lnTo>
                    <a:lnTo>
                      <a:pt x="186" y="1920"/>
                    </a:lnTo>
                    <a:lnTo>
                      <a:pt x="192" y="1926"/>
                    </a:lnTo>
                    <a:lnTo>
                      <a:pt x="198" y="1926"/>
                    </a:lnTo>
                    <a:lnTo>
                      <a:pt x="192" y="1944"/>
                    </a:lnTo>
                    <a:lnTo>
                      <a:pt x="234" y="1944"/>
                    </a:lnTo>
                    <a:lnTo>
                      <a:pt x="234" y="1914"/>
                    </a:lnTo>
                    <a:lnTo>
                      <a:pt x="246" y="1926"/>
                    </a:lnTo>
                    <a:lnTo>
                      <a:pt x="258" y="1932"/>
                    </a:lnTo>
                    <a:lnTo>
                      <a:pt x="270" y="1932"/>
                    </a:lnTo>
                    <a:lnTo>
                      <a:pt x="276" y="1926"/>
                    </a:lnTo>
                    <a:lnTo>
                      <a:pt x="276" y="1914"/>
                    </a:lnTo>
                    <a:lnTo>
                      <a:pt x="288" y="1932"/>
                    </a:lnTo>
                    <a:lnTo>
                      <a:pt x="282" y="1938"/>
                    </a:lnTo>
                    <a:lnTo>
                      <a:pt x="270" y="1944"/>
                    </a:lnTo>
                    <a:lnTo>
                      <a:pt x="264" y="1956"/>
                    </a:lnTo>
                    <a:lnTo>
                      <a:pt x="258" y="1962"/>
                    </a:lnTo>
                    <a:lnTo>
                      <a:pt x="258" y="1968"/>
                    </a:lnTo>
                    <a:lnTo>
                      <a:pt x="288" y="1968"/>
                    </a:lnTo>
                    <a:lnTo>
                      <a:pt x="294" y="1974"/>
                    </a:lnTo>
                    <a:lnTo>
                      <a:pt x="294" y="1992"/>
                    </a:lnTo>
                    <a:lnTo>
                      <a:pt x="270" y="1986"/>
                    </a:lnTo>
                    <a:lnTo>
                      <a:pt x="288" y="2010"/>
                    </a:lnTo>
                    <a:lnTo>
                      <a:pt x="276" y="2022"/>
                    </a:lnTo>
                    <a:lnTo>
                      <a:pt x="294" y="2046"/>
                    </a:lnTo>
                    <a:lnTo>
                      <a:pt x="276" y="2064"/>
                    </a:lnTo>
                    <a:lnTo>
                      <a:pt x="270" y="2076"/>
                    </a:lnTo>
                    <a:lnTo>
                      <a:pt x="270" y="2082"/>
                    </a:lnTo>
                    <a:lnTo>
                      <a:pt x="276" y="2088"/>
                    </a:lnTo>
                    <a:lnTo>
                      <a:pt x="282" y="2088"/>
                    </a:lnTo>
                    <a:lnTo>
                      <a:pt x="306" y="2100"/>
                    </a:lnTo>
                    <a:lnTo>
                      <a:pt x="318" y="2100"/>
                    </a:lnTo>
                    <a:lnTo>
                      <a:pt x="300" y="2118"/>
                    </a:lnTo>
                    <a:lnTo>
                      <a:pt x="300" y="2130"/>
                    </a:lnTo>
                    <a:lnTo>
                      <a:pt x="312" y="2136"/>
                    </a:lnTo>
                    <a:lnTo>
                      <a:pt x="318" y="2142"/>
                    </a:lnTo>
                    <a:lnTo>
                      <a:pt x="330" y="2148"/>
                    </a:lnTo>
                    <a:lnTo>
                      <a:pt x="354" y="2148"/>
                    </a:lnTo>
                    <a:lnTo>
                      <a:pt x="360" y="2184"/>
                    </a:lnTo>
                    <a:lnTo>
                      <a:pt x="354" y="2184"/>
                    </a:lnTo>
                    <a:lnTo>
                      <a:pt x="324" y="2214"/>
                    </a:lnTo>
                    <a:lnTo>
                      <a:pt x="324" y="2220"/>
                    </a:lnTo>
                    <a:lnTo>
                      <a:pt x="330" y="2226"/>
                    </a:lnTo>
                    <a:lnTo>
                      <a:pt x="354" y="2226"/>
                    </a:lnTo>
                    <a:lnTo>
                      <a:pt x="366" y="2232"/>
                    </a:lnTo>
                    <a:lnTo>
                      <a:pt x="378" y="2244"/>
                    </a:lnTo>
                    <a:lnTo>
                      <a:pt x="348" y="2244"/>
                    </a:lnTo>
                    <a:lnTo>
                      <a:pt x="342" y="2238"/>
                    </a:lnTo>
                    <a:lnTo>
                      <a:pt x="330" y="2238"/>
                    </a:lnTo>
                    <a:lnTo>
                      <a:pt x="324" y="2244"/>
                    </a:lnTo>
                    <a:lnTo>
                      <a:pt x="324" y="2250"/>
                    </a:lnTo>
                    <a:lnTo>
                      <a:pt x="354" y="2256"/>
                    </a:lnTo>
                    <a:lnTo>
                      <a:pt x="330" y="2268"/>
                    </a:lnTo>
                    <a:lnTo>
                      <a:pt x="336" y="2292"/>
                    </a:lnTo>
                    <a:lnTo>
                      <a:pt x="348" y="2292"/>
                    </a:lnTo>
                    <a:lnTo>
                      <a:pt x="348" y="2316"/>
                    </a:lnTo>
                    <a:lnTo>
                      <a:pt x="336" y="2328"/>
                    </a:lnTo>
                    <a:lnTo>
                      <a:pt x="336" y="2322"/>
                    </a:lnTo>
                    <a:lnTo>
                      <a:pt x="330" y="2316"/>
                    </a:lnTo>
                    <a:lnTo>
                      <a:pt x="324" y="2304"/>
                    </a:lnTo>
                    <a:lnTo>
                      <a:pt x="324" y="2298"/>
                    </a:lnTo>
                    <a:lnTo>
                      <a:pt x="288" y="2298"/>
                    </a:lnTo>
                    <a:lnTo>
                      <a:pt x="306" y="2292"/>
                    </a:lnTo>
                    <a:lnTo>
                      <a:pt x="282" y="2268"/>
                    </a:lnTo>
                    <a:lnTo>
                      <a:pt x="276" y="2268"/>
                    </a:lnTo>
                    <a:lnTo>
                      <a:pt x="276" y="2280"/>
                    </a:lnTo>
                    <a:lnTo>
                      <a:pt x="270" y="2268"/>
                    </a:lnTo>
                    <a:lnTo>
                      <a:pt x="228" y="2280"/>
                    </a:lnTo>
                    <a:lnTo>
                      <a:pt x="264" y="2286"/>
                    </a:lnTo>
                    <a:lnTo>
                      <a:pt x="258" y="2292"/>
                    </a:lnTo>
                    <a:lnTo>
                      <a:pt x="252" y="2304"/>
                    </a:lnTo>
                    <a:lnTo>
                      <a:pt x="246" y="2310"/>
                    </a:lnTo>
                    <a:lnTo>
                      <a:pt x="234" y="2316"/>
                    </a:lnTo>
                    <a:lnTo>
                      <a:pt x="228" y="2328"/>
                    </a:lnTo>
                    <a:lnTo>
                      <a:pt x="222" y="2334"/>
                    </a:lnTo>
                    <a:lnTo>
                      <a:pt x="222" y="2340"/>
                    </a:lnTo>
                    <a:lnTo>
                      <a:pt x="228" y="2346"/>
                    </a:lnTo>
                    <a:lnTo>
                      <a:pt x="240" y="2352"/>
                    </a:lnTo>
                    <a:lnTo>
                      <a:pt x="252" y="2352"/>
                    </a:lnTo>
                    <a:lnTo>
                      <a:pt x="252" y="2346"/>
                    </a:lnTo>
                    <a:lnTo>
                      <a:pt x="240" y="2334"/>
                    </a:lnTo>
                    <a:lnTo>
                      <a:pt x="264" y="2328"/>
                    </a:lnTo>
                    <a:lnTo>
                      <a:pt x="282" y="2346"/>
                    </a:lnTo>
                    <a:lnTo>
                      <a:pt x="324" y="2346"/>
                    </a:lnTo>
                    <a:lnTo>
                      <a:pt x="336" y="2352"/>
                    </a:lnTo>
                    <a:lnTo>
                      <a:pt x="342" y="2364"/>
                    </a:lnTo>
                    <a:lnTo>
                      <a:pt x="354" y="2370"/>
                    </a:lnTo>
                    <a:lnTo>
                      <a:pt x="354" y="2376"/>
                    </a:lnTo>
                    <a:lnTo>
                      <a:pt x="336" y="2394"/>
                    </a:lnTo>
                    <a:lnTo>
                      <a:pt x="342" y="2406"/>
                    </a:lnTo>
                    <a:lnTo>
                      <a:pt x="360" y="2406"/>
                    </a:lnTo>
                    <a:lnTo>
                      <a:pt x="360" y="2418"/>
                    </a:lnTo>
                    <a:lnTo>
                      <a:pt x="378" y="2424"/>
                    </a:lnTo>
                    <a:lnTo>
                      <a:pt x="384" y="2406"/>
                    </a:lnTo>
                    <a:lnTo>
                      <a:pt x="402" y="2424"/>
                    </a:lnTo>
                    <a:lnTo>
                      <a:pt x="408" y="2424"/>
                    </a:lnTo>
                    <a:lnTo>
                      <a:pt x="420" y="2430"/>
                    </a:lnTo>
                    <a:lnTo>
                      <a:pt x="426" y="2436"/>
                    </a:lnTo>
                    <a:lnTo>
                      <a:pt x="426" y="2448"/>
                    </a:lnTo>
                    <a:lnTo>
                      <a:pt x="414" y="2460"/>
                    </a:lnTo>
                    <a:lnTo>
                      <a:pt x="408" y="2454"/>
                    </a:lnTo>
                    <a:lnTo>
                      <a:pt x="396" y="2454"/>
                    </a:lnTo>
                    <a:lnTo>
                      <a:pt x="384" y="2448"/>
                    </a:lnTo>
                    <a:lnTo>
                      <a:pt x="378" y="2442"/>
                    </a:lnTo>
                    <a:lnTo>
                      <a:pt x="366" y="2442"/>
                    </a:lnTo>
                    <a:lnTo>
                      <a:pt x="366" y="2454"/>
                    </a:lnTo>
                    <a:lnTo>
                      <a:pt x="372" y="2460"/>
                    </a:lnTo>
                    <a:lnTo>
                      <a:pt x="378" y="2460"/>
                    </a:lnTo>
                    <a:lnTo>
                      <a:pt x="390" y="2472"/>
                    </a:lnTo>
                    <a:lnTo>
                      <a:pt x="402" y="2496"/>
                    </a:lnTo>
                    <a:lnTo>
                      <a:pt x="402" y="2508"/>
                    </a:lnTo>
                    <a:lnTo>
                      <a:pt x="384" y="2508"/>
                    </a:lnTo>
                    <a:lnTo>
                      <a:pt x="396" y="2526"/>
                    </a:lnTo>
                    <a:lnTo>
                      <a:pt x="414" y="2562"/>
                    </a:lnTo>
                    <a:lnTo>
                      <a:pt x="426" y="2520"/>
                    </a:lnTo>
                    <a:lnTo>
                      <a:pt x="426" y="2550"/>
                    </a:lnTo>
                    <a:lnTo>
                      <a:pt x="444" y="2574"/>
                    </a:lnTo>
                    <a:lnTo>
                      <a:pt x="420" y="2574"/>
                    </a:lnTo>
                    <a:lnTo>
                      <a:pt x="426" y="2592"/>
                    </a:lnTo>
                    <a:lnTo>
                      <a:pt x="450" y="2592"/>
                    </a:lnTo>
                    <a:lnTo>
                      <a:pt x="432" y="2604"/>
                    </a:lnTo>
                    <a:lnTo>
                      <a:pt x="462" y="2616"/>
                    </a:lnTo>
                    <a:lnTo>
                      <a:pt x="444" y="2628"/>
                    </a:lnTo>
                    <a:lnTo>
                      <a:pt x="474" y="2640"/>
                    </a:lnTo>
                    <a:lnTo>
                      <a:pt x="462" y="2652"/>
                    </a:lnTo>
                    <a:lnTo>
                      <a:pt x="480" y="2658"/>
                    </a:lnTo>
                    <a:lnTo>
                      <a:pt x="480" y="2652"/>
                    </a:lnTo>
                    <a:lnTo>
                      <a:pt x="486" y="2640"/>
                    </a:lnTo>
                    <a:lnTo>
                      <a:pt x="486" y="2634"/>
                    </a:lnTo>
                    <a:lnTo>
                      <a:pt x="492" y="2634"/>
                    </a:lnTo>
                    <a:lnTo>
                      <a:pt x="498" y="2640"/>
                    </a:lnTo>
                    <a:lnTo>
                      <a:pt x="504" y="2652"/>
                    </a:lnTo>
                    <a:lnTo>
                      <a:pt x="498" y="2658"/>
                    </a:lnTo>
                    <a:lnTo>
                      <a:pt x="498" y="2664"/>
                    </a:lnTo>
                    <a:lnTo>
                      <a:pt x="492" y="2664"/>
                    </a:lnTo>
                    <a:lnTo>
                      <a:pt x="480" y="2676"/>
                    </a:lnTo>
                    <a:lnTo>
                      <a:pt x="480" y="2682"/>
                    </a:lnTo>
                    <a:lnTo>
                      <a:pt x="486" y="2688"/>
                    </a:lnTo>
                    <a:lnTo>
                      <a:pt x="516" y="2688"/>
                    </a:lnTo>
                    <a:lnTo>
                      <a:pt x="516" y="2700"/>
                    </a:lnTo>
                    <a:lnTo>
                      <a:pt x="540" y="2724"/>
                    </a:lnTo>
                    <a:lnTo>
                      <a:pt x="552" y="2730"/>
                    </a:lnTo>
                    <a:lnTo>
                      <a:pt x="558" y="2736"/>
                    </a:lnTo>
                    <a:lnTo>
                      <a:pt x="558" y="2700"/>
                    </a:lnTo>
                    <a:lnTo>
                      <a:pt x="564" y="2700"/>
                    </a:lnTo>
                    <a:lnTo>
                      <a:pt x="570" y="2706"/>
                    </a:lnTo>
                    <a:lnTo>
                      <a:pt x="582" y="2712"/>
                    </a:lnTo>
                    <a:lnTo>
                      <a:pt x="600" y="2718"/>
                    </a:lnTo>
                    <a:lnTo>
                      <a:pt x="624" y="2742"/>
                    </a:lnTo>
                    <a:lnTo>
                      <a:pt x="618" y="2748"/>
                    </a:lnTo>
                    <a:lnTo>
                      <a:pt x="618" y="2754"/>
                    </a:lnTo>
                    <a:lnTo>
                      <a:pt x="612" y="2760"/>
                    </a:lnTo>
                    <a:lnTo>
                      <a:pt x="630" y="2766"/>
                    </a:lnTo>
                    <a:lnTo>
                      <a:pt x="630" y="2790"/>
                    </a:lnTo>
                    <a:lnTo>
                      <a:pt x="684" y="2790"/>
                    </a:lnTo>
                    <a:lnTo>
                      <a:pt x="696" y="2802"/>
                    </a:lnTo>
                    <a:lnTo>
                      <a:pt x="666" y="2802"/>
                    </a:lnTo>
                    <a:lnTo>
                      <a:pt x="654" y="2814"/>
                    </a:lnTo>
                    <a:lnTo>
                      <a:pt x="630" y="2814"/>
                    </a:lnTo>
                    <a:lnTo>
                      <a:pt x="618" y="2832"/>
                    </a:lnTo>
                    <a:lnTo>
                      <a:pt x="648" y="2832"/>
                    </a:lnTo>
                    <a:lnTo>
                      <a:pt x="636" y="2850"/>
                    </a:lnTo>
                    <a:lnTo>
                      <a:pt x="666" y="2844"/>
                    </a:lnTo>
                    <a:lnTo>
                      <a:pt x="666" y="2826"/>
                    </a:lnTo>
                    <a:lnTo>
                      <a:pt x="690" y="2838"/>
                    </a:lnTo>
                    <a:lnTo>
                      <a:pt x="696" y="2826"/>
                    </a:lnTo>
                    <a:lnTo>
                      <a:pt x="702" y="2820"/>
                    </a:lnTo>
                    <a:lnTo>
                      <a:pt x="714" y="2814"/>
                    </a:lnTo>
                    <a:lnTo>
                      <a:pt x="720" y="2808"/>
                    </a:lnTo>
                    <a:lnTo>
                      <a:pt x="732" y="2808"/>
                    </a:lnTo>
                    <a:lnTo>
                      <a:pt x="732" y="2820"/>
                    </a:lnTo>
                    <a:lnTo>
                      <a:pt x="726" y="2832"/>
                    </a:lnTo>
                    <a:lnTo>
                      <a:pt x="702" y="2856"/>
                    </a:lnTo>
                    <a:lnTo>
                      <a:pt x="696" y="2850"/>
                    </a:lnTo>
                    <a:lnTo>
                      <a:pt x="678" y="2850"/>
                    </a:lnTo>
                    <a:lnTo>
                      <a:pt x="678" y="2868"/>
                    </a:lnTo>
                    <a:lnTo>
                      <a:pt x="642" y="2868"/>
                    </a:lnTo>
                    <a:lnTo>
                      <a:pt x="630" y="2880"/>
                    </a:lnTo>
                    <a:lnTo>
                      <a:pt x="642" y="2886"/>
                    </a:lnTo>
                    <a:lnTo>
                      <a:pt x="648" y="2916"/>
                    </a:lnTo>
                    <a:lnTo>
                      <a:pt x="678" y="2898"/>
                    </a:lnTo>
                    <a:lnTo>
                      <a:pt x="684" y="2910"/>
                    </a:lnTo>
                    <a:lnTo>
                      <a:pt x="684" y="2916"/>
                    </a:lnTo>
                    <a:lnTo>
                      <a:pt x="690" y="2916"/>
                    </a:lnTo>
                    <a:lnTo>
                      <a:pt x="696" y="2910"/>
                    </a:lnTo>
                    <a:lnTo>
                      <a:pt x="702" y="2898"/>
                    </a:lnTo>
                    <a:lnTo>
                      <a:pt x="702" y="2892"/>
                    </a:lnTo>
                    <a:lnTo>
                      <a:pt x="708" y="2880"/>
                    </a:lnTo>
                    <a:lnTo>
                      <a:pt x="714" y="2874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" name="Brazil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9FC074D-1037-46AB-AD9F-EF239135D2E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50624" y="790771"/>
                <a:ext cx="998722" cy="1130278"/>
              </a:xfrm>
              <a:custGeom>
                <a:avLst/>
                <a:gdLst>
                  <a:gd name="T0" fmla="*/ 2147483647 w 2784"/>
                  <a:gd name="T1" fmla="*/ 2147483647 h 3150"/>
                  <a:gd name="T2" fmla="*/ 2147483647 w 2784"/>
                  <a:gd name="T3" fmla="*/ 2147483647 h 3150"/>
                  <a:gd name="T4" fmla="*/ 2147483647 w 2784"/>
                  <a:gd name="T5" fmla="*/ 2147483647 h 3150"/>
                  <a:gd name="T6" fmla="*/ 2147483647 w 2784"/>
                  <a:gd name="T7" fmla="*/ 2147483647 h 3150"/>
                  <a:gd name="T8" fmla="*/ 2147483647 w 2784"/>
                  <a:gd name="T9" fmla="*/ 2147483647 h 3150"/>
                  <a:gd name="T10" fmla="*/ 2147483647 w 2784"/>
                  <a:gd name="T11" fmla="*/ 2147483647 h 3150"/>
                  <a:gd name="T12" fmla="*/ 2147483647 w 2784"/>
                  <a:gd name="T13" fmla="*/ 2147483647 h 3150"/>
                  <a:gd name="T14" fmla="*/ 2147483647 w 2784"/>
                  <a:gd name="T15" fmla="*/ 2147483647 h 3150"/>
                  <a:gd name="T16" fmla="*/ 2147483647 w 2784"/>
                  <a:gd name="T17" fmla="*/ 2147483647 h 3150"/>
                  <a:gd name="T18" fmla="*/ 2147483647 w 2784"/>
                  <a:gd name="T19" fmla="*/ 2147483647 h 3150"/>
                  <a:gd name="T20" fmla="*/ 2147483647 w 2784"/>
                  <a:gd name="T21" fmla="*/ 2147483647 h 3150"/>
                  <a:gd name="T22" fmla="*/ 2147483647 w 2784"/>
                  <a:gd name="T23" fmla="*/ 2147483647 h 3150"/>
                  <a:gd name="T24" fmla="*/ 2147483647 w 2784"/>
                  <a:gd name="T25" fmla="*/ 2147483647 h 3150"/>
                  <a:gd name="T26" fmla="*/ 2147483647 w 2784"/>
                  <a:gd name="T27" fmla="*/ 2147483647 h 3150"/>
                  <a:gd name="T28" fmla="*/ 2147483647 w 2784"/>
                  <a:gd name="T29" fmla="*/ 2147483647 h 3150"/>
                  <a:gd name="T30" fmla="*/ 2147483647 w 2784"/>
                  <a:gd name="T31" fmla="*/ 2147483647 h 3150"/>
                  <a:gd name="T32" fmla="*/ 2147483647 w 2784"/>
                  <a:gd name="T33" fmla="*/ 2147483647 h 3150"/>
                  <a:gd name="T34" fmla="*/ 2147483647 w 2784"/>
                  <a:gd name="T35" fmla="*/ 2147483647 h 3150"/>
                  <a:gd name="T36" fmla="*/ 2147483647 w 2784"/>
                  <a:gd name="T37" fmla="*/ 2147483647 h 3150"/>
                  <a:gd name="T38" fmla="*/ 2147483647 w 2784"/>
                  <a:gd name="T39" fmla="*/ 2147483647 h 3150"/>
                  <a:gd name="T40" fmla="*/ 2147483647 w 2784"/>
                  <a:gd name="T41" fmla="*/ 2147483647 h 3150"/>
                  <a:gd name="T42" fmla="*/ 2147483647 w 2784"/>
                  <a:gd name="T43" fmla="*/ 2147483647 h 3150"/>
                  <a:gd name="T44" fmla="*/ 2147483647 w 2784"/>
                  <a:gd name="T45" fmla="*/ 2147483647 h 3150"/>
                  <a:gd name="T46" fmla="*/ 2147483647 w 2784"/>
                  <a:gd name="T47" fmla="*/ 2147483647 h 3150"/>
                  <a:gd name="T48" fmla="*/ 2147483647 w 2784"/>
                  <a:gd name="T49" fmla="*/ 2147483647 h 3150"/>
                  <a:gd name="T50" fmla="*/ 2147483647 w 2784"/>
                  <a:gd name="T51" fmla="*/ 2147483647 h 3150"/>
                  <a:gd name="T52" fmla="*/ 2147483647 w 2784"/>
                  <a:gd name="T53" fmla="*/ 2147483647 h 3150"/>
                  <a:gd name="T54" fmla="*/ 2147483647 w 2784"/>
                  <a:gd name="T55" fmla="*/ 2147483647 h 3150"/>
                  <a:gd name="T56" fmla="*/ 2147483647 w 2784"/>
                  <a:gd name="T57" fmla="*/ 2147483647 h 3150"/>
                  <a:gd name="T58" fmla="*/ 2147483647 w 2784"/>
                  <a:gd name="T59" fmla="*/ 2147483647 h 3150"/>
                  <a:gd name="T60" fmla="*/ 2147483647 w 2784"/>
                  <a:gd name="T61" fmla="*/ 2147483647 h 3150"/>
                  <a:gd name="T62" fmla="*/ 2147483647 w 2784"/>
                  <a:gd name="T63" fmla="*/ 2147483647 h 3150"/>
                  <a:gd name="T64" fmla="*/ 2147483647 w 2784"/>
                  <a:gd name="T65" fmla="*/ 2147483647 h 3150"/>
                  <a:gd name="T66" fmla="*/ 2147483647 w 2784"/>
                  <a:gd name="T67" fmla="*/ 2147483647 h 3150"/>
                  <a:gd name="T68" fmla="*/ 2147483647 w 2784"/>
                  <a:gd name="T69" fmla="*/ 2147483647 h 3150"/>
                  <a:gd name="T70" fmla="*/ 2147483647 w 2784"/>
                  <a:gd name="T71" fmla="*/ 2147483647 h 3150"/>
                  <a:gd name="T72" fmla="*/ 2147483647 w 2784"/>
                  <a:gd name="T73" fmla="*/ 2147483647 h 3150"/>
                  <a:gd name="T74" fmla="*/ 2147483647 w 2784"/>
                  <a:gd name="T75" fmla="*/ 2147483647 h 3150"/>
                  <a:gd name="T76" fmla="*/ 2147483647 w 2784"/>
                  <a:gd name="T77" fmla="*/ 2147483647 h 3150"/>
                  <a:gd name="T78" fmla="*/ 2147483647 w 2784"/>
                  <a:gd name="T79" fmla="*/ 2147483647 h 3150"/>
                  <a:gd name="T80" fmla="*/ 2147483647 w 2784"/>
                  <a:gd name="T81" fmla="*/ 2147483647 h 3150"/>
                  <a:gd name="T82" fmla="*/ 2147483647 w 2784"/>
                  <a:gd name="T83" fmla="*/ 2147483647 h 3150"/>
                  <a:gd name="T84" fmla="*/ 2147483647 w 2784"/>
                  <a:gd name="T85" fmla="*/ 2147483647 h 3150"/>
                  <a:gd name="T86" fmla="*/ 2147483647 w 2784"/>
                  <a:gd name="T87" fmla="*/ 2147483647 h 3150"/>
                  <a:gd name="T88" fmla="*/ 2147483647 w 2784"/>
                  <a:gd name="T89" fmla="*/ 2147483647 h 3150"/>
                  <a:gd name="T90" fmla="*/ 2147483647 w 2784"/>
                  <a:gd name="T91" fmla="*/ 2147483647 h 3150"/>
                  <a:gd name="T92" fmla="*/ 2147483647 w 2784"/>
                  <a:gd name="T93" fmla="*/ 2147483647 h 3150"/>
                  <a:gd name="T94" fmla="*/ 2147483647 w 2784"/>
                  <a:gd name="T95" fmla="*/ 2147483647 h 3150"/>
                  <a:gd name="T96" fmla="*/ 2147483647 w 2784"/>
                  <a:gd name="T97" fmla="*/ 2147483647 h 3150"/>
                  <a:gd name="T98" fmla="*/ 2147483647 w 2784"/>
                  <a:gd name="T99" fmla="*/ 2147483647 h 3150"/>
                  <a:gd name="T100" fmla="*/ 2147483647 w 2784"/>
                  <a:gd name="T101" fmla="*/ 2147483647 h 3150"/>
                  <a:gd name="T102" fmla="*/ 2147483647 w 2784"/>
                  <a:gd name="T103" fmla="*/ 2147483647 h 3150"/>
                  <a:gd name="T104" fmla="*/ 2147483647 w 2784"/>
                  <a:gd name="T105" fmla="*/ 2147483647 h 3150"/>
                  <a:gd name="T106" fmla="*/ 2147483647 w 2784"/>
                  <a:gd name="T107" fmla="*/ 2147483647 h 3150"/>
                  <a:gd name="T108" fmla="*/ 2147483647 w 2784"/>
                  <a:gd name="T109" fmla="*/ 2147483647 h 3150"/>
                  <a:gd name="T110" fmla="*/ 2147483647 w 2784"/>
                  <a:gd name="T111" fmla="*/ 2147483647 h 3150"/>
                  <a:gd name="T112" fmla="*/ 2147483647 w 2784"/>
                  <a:gd name="T113" fmla="*/ 2147483647 h 3150"/>
                  <a:gd name="T114" fmla="*/ 2147483647 w 2784"/>
                  <a:gd name="T115" fmla="*/ 2147483647 h 3150"/>
                  <a:gd name="T116" fmla="*/ 2147483647 w 2784"/>
                  <a:gd name="T117" fmla="*/ 2147483647 h 3150"/>
                  <a:gd name="T118" fmla="*/ 2147483647 w 2784"/>
                  <a:gd name="T119" fmla="*/ 2147483647 h 315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2784"/>
                  <a:gd name="T181" fmla="*/ 0 h 3150"/>
                  <a:gd name="T182" fmla="*/ 2784 w 2784"/>
                  <a:gd name="T183" fmla="*/ 3150 h 315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2784" h="3150">
                    <a:moveTo>
                      <a:pt x="1716" y="450"/>
                    </a:moveTo>
                    <a:lnTo>
                      <a:pt x="1710" y="450"/>
                    </a:lnTo>
                    <a:lnTo>
                      <a:pt x="1698" y="444"/>
                    </a:lnTo>
                    <a:lnTo>
                      <a:pt x="1680" y="444"/>
                    </a:lnTo>
                    <a:lnTo>
                      <a:pt x="1662" y="438"/>
                    </a:lnTo>
                    <a:lnTo>
                      <a:pt x="1650" y="438"/>
                    </a:lnTo>
                    <a:lnTo>
                      <a:pt x="1644" y="444"/>
                    </a:lnTo>
                    <a:lnTo>
                      <a:pt x="1644" y="450"/>
                    </a:lnTo>
                    <a:lnTo>
                      <a:pt x="1650" y="462"/>
                    </a:lnTo>
                    <a:lnTo>
                      <a:pt x="1650" y="468"/>
                    </a:lnTo>
                    <a:lnTo>
                      <a:pt x="1656" y="480"/>
                    </a:lnTo>
                    <a:lnTo>
                      <a:pt x="1638" y="480"/>
                    </a:lnTo>
                    <a:lnTo>
                      <a:pt x="1638" y="504"/>
                    </a:lnTo>
                    <a:lnTo>
                      <a:pt x="1656" y="516"/>
                    </a:lnTo>
                    <a:lnTo>
                      <a:pt x="1644" y="528"/>
                    </a:lnTo>
                    <a:lnTo>
                      <a:pt x="1644" y="540"/>
                    </a:lnTo>
                    <a:lnTo>
                      <a:pt x="1656" y="564"/>
                    </a:lnTo>
                    <a:lnTo>
                      <a:pt x="1668" y="570"/>
                    </a:lnTo>
                    <a:lnTo>
                      <a:pt x="1674" y="576"/>
                    </a:lnTo>
                    <a:lnTo>
                      <a:pt x="1686" y="576"/>
                    </a:lnTo>
                    <a:lnTo>
                      <a:pt x="1698" y="570"/>
                    </a:lnTo>
                    <a:lnTo>
                      <a:pt x="1710" y="570"/>
                    </a:lnTo>
                    <a:lnTo>
                      <a:pt x="1716" y="564"/>
                    </a:lnTo>
                    <a:lnTo>
                      <a:pt x="1716" y="558"/>
                    </a:lnTo>
                    <a:lnTo>
                      <a:pt x="1728" y="558"/>
                    </a:lnTo>
                    <a:lnTo>
                      <a:pt x="1740" y="552"/>
                    </a:lnTo>
                    <a:lnTo>
                      <a:pt x="1758" y="552"/>
                    </a:lnTo>
                    <a:lnTo>
                      <a:pt x="1770" y="546"/>
                    </a:lnTo>
                    <a:lnTo>
                      <a:pt x="1776" y="534"/>
                    </a:lnTo>
                    <a:lnTo>
                      <a:pt x="1788" y="492"/>
                    </a:lnTo>
                    <a:lnTo>
                      <a:pt x="1794" y="480"/>
                    </a:lnTo>
                    <a:lnTo>
                      <a:pt x="1794" y="474"/>
                    </a:lnTo>
                    <a:lnTo>
                      <a:pt x="1800" y="462"/>
                    </a:lnTo>
                    <a:lnTo>
                      <a:pt x="1800" y="444"/>
                    </a:lnTo>
                    <a:lnTo>
                      <a:pt x="1794" y="438"/>
                    </a:lnTo>
                    <a:lnTo>
                      <a:pt x="1752" y="438"/>
                    </a:lnTo>
                    <a:lnTo>
                      <a:pt x="1740" y="444"/>
                    </a:lnTo>
                    <a:lnTo>
                      <a:pt x="1734" y="444"/>
                    </a:lnTo>
                    <a:lnTo>
                      <a:pt x="1722" y="450"/>
                    </a:lnTo>
                    <a:lnTo>
                      <a:pt x="1716" y="450"/>
                    </a:lnTo>
                    <a:close/>
                    <a:moveTo>
                      <a:pt x="1716" y="438"/>
                    </a:moveTo>
                    <a:lnTo>
                      <a:pt x="1740" y="432"/>
                    </a:lnTo>
                    <a:lnTo>
                      <a:pt x="1722" y="414"/>
                    </a:lnTo>
                    <a:lnTo>
                      <a:pt x="1698" y="438"/>
                    </a:lnTo>
                    <a:lnTo>
                      <a:pt x="1716" y="438"/>
                    </a:lnTo>
                    <a:close/>
                    <a:moveTo>
                      <a:pt x="1686" y="408"/>
                    </a:moveTo>
                    <a:lnTo>
                      <a:pt x="1662" y="408"/>
                    </a:lnTo>
                    <a:lnTo>
                      <a:pt x="1662" y="426"/>
                    </a:lnTo>
                    <a:lnTo>
                      <a:pt x="1698" y="426"/>
                    </a:lnTo>
                    <a:lnTo>
                      <a:pt x="1716" y="402"/>
                    </a:lnTo>
                    <a:lnTo>
                      <a:pt x="1698" y="384"/>
                    </a:lnTo>
                    <a:lnTo>
                      <a:pt x="1686" y="408"/>
                    </a:lnTo>
                    <a:close/>
                    <a:moveTo>
                      <a:pt x="1572" y="492"/>
                    </a:moveTo>
                    <a:lnTo>
                      <a:pt x="1572" y="510"/>
                    </a:lnTo>
                    <a:lnTo>
                      <a:pt x="1554" y="546"/>
                    </a:lnTo>
                    <a:lnTo>
                      <a:pt x="1584" y="528"/>
                    </a:lnTo>
                    <a:lnTo>
                      <a:pt x="1590" y="516"/>
                    </a:lnTo>
                    <a:lnTo>
                      <a:pt x="1596" y="510"/>
                    </a:lnTo>
                    <a:lnTo>
                      <a:pt x="1608" y="486"/>
                    </a:lnTo>
                    <a:lnTo>
                      <a:pt x="1608" y="480"/>
                    </a:lnTo>
                    <a:lnTo>
                      <a:pt x="1602" y="474"/>
                    </a:lnTo>
                    <a:lnTo>
                      <a:pt x="1596" y="474"/>
                    </a:lnTo>
                    <a:lnTo>
                      <a:pt x="1584" y="480"/>
                    </a:lnTo>
                    <a:lnTo>
                      <a:pt x="1572" y="492"/>
                    </a:lnTo>
                    <a:close/>
                    <a:moveTo>
                      <a:pt x="1632" y="426"/>
                    </a:moveTo>
                    <a:lnTo>
                      <a:pt x="1608" y="450"/>
                    </a:lnTo>
                    <a:lnTo>
                      <a:pt x="1626" y="456"/>
                    </a:lnTo>
                    <a:lnTo>
                      <a:pt x="1644" y="432"/>
                    </a:lnTo>
                    <a:lnTo>
                      <a:pt x="1632" y="426"/>
                    </a:lnTo>
                    <a:close/>
                    <a:moveTo>
                      <a:pt x="2778" y="1002"/>
                    </a:moveTo>
                    <a:lnTo>
                      <a:pt x="2778" y="984"/>
                    </a:lnTo>
                    <a:lnTo>
                      <a:pt x="2772" y="972"/>
                    </a:lnTo>
                    <a:lnTo>
                      <a:pt x="2760" y="954"/>
                    </a:lnTo>
                    <a:lnTo>
                      <a:pt x="2754" y="936"/>
                    </a:lnTo>
                    <a:lnTo>
                      <a:pt x="2754" y="870"/>
                    </a:lnTo>
                    <a:lnTo>
                      <a:pt x="2724" y="840"/>
                    </a:lnTo>
                    <a:lnTo>
                      <a:pt x="2694" y="834"/>
                    </a:lnTo>
                    <a:lnTo>
                      <a:pt x="2646" y="840"/>
                    </a:lnTo>
                    <a:lnTo>
                      <a:pt x="2628" y="822"/>
                    </a:lnTo>
                    <a:lnTo>
                      <a:pt x="2610" y="822"/>
                    </a:lnTo>
                    <a:lnTo>
                      <a:pt x="2592" y="798"/>
                    </a:lnTo>
                    <a:lnTo>
                      <a:pt x="2568" y="798"/>
                    </a:lnTo>
                    <a:lnTo>
                      <a:pt x="2538" y="768"/>
                    </a:lnTo>
                    <a:lnTo>
                      <a:pt x="2526" y="750"/>
                    </a:lnTo>
                    <a:lnTo>
                      <a:pt x="2490" y="714"/>
                    </a:lnTo>
                    <a:lnTo>
                      <a:pt x="2418" y="666"/>
                    </a:lnTo>
                    <a:lnTo>
                      <a:pt x="2394" y="660"/>
                    </a:lnTo>
                    <a:lnTo>
                      <a:pt x="2316" y="660"/>
                    </a:lnTo>
                    <a:lnTo>
                      <a:pt x="2316" y="672"/>
                    </a:lnTo>
                    <a:lnTo>
                      <a:pt x="2310" y="672"/>
                    </a:lnTo>
                    <a:lnTo>
                      <a:pt x="2298" y="660"/>
                    </a:lnTo>
                    <a:lnTo>
                      <a:pt x="2286" y="654"/>
                    </a:lnTo>
                    <a:lnTo>
                      <a:pt x="2274" y="654"/>
                    </a:lnTo>
                    <a:lnTo>
                      <a:pt x="2262" y="648"/>
                    </a:lnTo>
                    <a:lnTo>
                      <a:pt x="2232" y="648"/>
                    </a:lnTo>
                    <a:lnTo>
                      <a:pt x="2226" y="642"/>
                    </a:lnTo>
                    <a:lnTo>
                      <a:pt x="2214" y="636"/>
                    </a:lnTo>
                    <a:lnTo>
                      <a:pt x="2196" y="630"/>
                    </a:lnTo>
                    <a:lnTo>
                      <a:pt x="2184" y="624"/>
                    </a:lnTo>
                    <a:lnTo>
                      <a:pt x="2166" y="618"/>
                    </a:lnTo>
                    <a:lnTo>
                      <a:pt x="2154" y="618"/>
                    </a:lnTo>
                    <a:lnTo>
                      <a:pt x="2142" y="624"/>
                    </a:lnTo>
                    <a:lnTo>
                      <a:pt x="2112" y="654"/>
                    </a:lnTo>
                    <a:lnTo>
                      <a:pt x="2106" y="666"/>
                    </a:lnTo>
                    <a:lnTo>
                      <a:pt x="2088" y="642"/>
                    </a:lnTo>
                    <a:lnTo>
                      <a:pt x="2088" y="678"/>
                    </a:lnTo>
                    <a:lnTo>
                      <a:pt x="2058" y="702"/>
                    </a:lnTo>
                    <a:lnTo>
                      <a:pt x="2076" y="636"/>
                    </a:lnTo>
                    <a:lnTo>
                      <a:pt x="2082" y="636"/>
                    </a:lnTo>
                    <a:lnTo>
                      <a:pt x="2094" y="624"/>
                    </a:lnTo>
                    <a:lnTo>
                      <a:pt x="2094" y="606"/>
                    </a:lnTo>
                    <a:lnTo>
                      <a:pt x="2088" y="600"/>
                    </a:lnTo>
                    <a:lnTo>
                      <a:pt x="2082" y="600"/>
                    </a:lnTo>
                    <a:lnTo>
                      <a:pt x="2064" y="618"/>
                    </a:lnTo>
                    <a:lnTo>
                      <a:pt x="2076" y="582"/>
                    </a:lnTo>
                    <a:lnTo>
                      <a:pt x="2070" y="582"/>
                    </a:lnTo>
                    <a:lnTo>
                      <a:pt x="2064" y="576"/>
                    </a:lnTo>
                    <a:lnTo>
                      <a:pt x="2064" y="570"/>
                    </a:lnTo>
                    <a:lnTo>
                      <a:pt x="2040" y="546"/>
                    </a:lnTo>
                    <a:lnTo>
                      <a:pt x="2034" y="546"/>
                    </a:lnTo>
                    <a:lnTo>
                      <a:pt x="2022" y="564"/>
                    </a:lnTo>
                    <a:lnTo>
                      <a:pt x="2016" y="552"/>
                    </a:lnTo>
                    <a:lnTo>
                      <a:pt x="2004" y="546"/>
                    </a:lnTo>
                    <a:lnTo>
                      <a:pt x="1998" y="534"/>
                    </a:lnTo>
                    <a:lnTo>
                      <a:pt x="1986" y="528"/>
                    </a:lnTo>
                    <a:lnTo>
                      <a:pt x="1980" y="522"/>
                    </a:lnTo>
                    <a:lnTo>
                      <a:pt x="1968" y="516"/>
                    </a:lnTo>
                    <a:lnTo>
                      <a:pt x="1944" y="516"/>
                    </a:lnTo>
                    <a:lnTo>
                      <a:pt x="1932" y="510"/>
                    </a:lnTo>
                    <a:lnTo>
                      <a:pt x="1926" y="510"/>
                    </a:lnTo>
                    <a:lnTo>
                      <a:pt x="1914" y="498"/>
                    </a:lnTo>
                    <a:lnTo>
                      <a:pt x="1902" y="492"/>
                    </a:lnTo>
                    <a:lnTo>
                      <a:pt x="1896" y="480"/>
                    </a:lnTo>
                    <a:lnTo>
                      <a:pt x="1884" y="474"/>
                    </a:lnTo>
                    <a:lnTo>
                      <a:pt x="1878" y="486"/>
                    </a:lnTo>
                    <a:lnTo>
                      <a:pt x="1824" y="486"/>
                    </a:lnTo>
                    <a:lnTo>
                      <a:pt x="1812" y="498"/>
                    </a:lnTo>
                    <a:lnTo>
                      <a:pt x="1806" y="510"/>
                    </a:lnTo>
                    <a:lnTo>
                      <a:pt x="1806" y="522"/>
                    </a:lnTo>
                    <a:lnTo>
                      <a:pt x="1800" y="528"/>
                    </a:lnTo>
                    <a:lnTo>
                      <a:pt x="1800" y="534"/>
                    </a:lnTo>
                    <a:lnTo>
                      <a:pt x="1812" y="552"/>
                    </a:lnTo>
                    <a:lnTo>
                      <a:pt x="1776" y="552"/>
                    </a:lnTo>
                    <a:lnTo>
                      <a:pt x="1770" y="564"/>
                    </a:lnTo>
                    <a:lnTo>
                      <a:pt x="1758" y="576"/>
                    </a:lnTo>
                    <a:lnTo>
                      <a:pt x="1752" y="588"/>
                    </a:lnTo>
                    <a:lnTo>
                      <a:pt x="1752" y="594"/>
                    </a:lnTo>
                    <a:lnTo>
                      <a:pt x="1746" y="600"/>
                    </a:lnTo>
                    <a:lnTo>
                      <a:pt x="1746" y="612"/>
                    </a:lnTo>
                    <a:lnTo>
                      <a:pt x="1740" y="624"/>
                    </a:lnTo>
                    <a:lnTo>
                      <a:pt x="1728" y="636"/>
                    </a:lnTo>
                    <a:lnTo>
                      <a:pt x="1722" y="636"/>
                    </a:lnTo>
                    <a:lnTo>
                      <a:pt x="1728" y="630"/>
                    </a:lnTo>
                    <a:lnTo>
                      <a:pt x="1728" y="618"/>
                    </a:lnTo>
                    <a:lnTo>
                      <a:pt x="1734" y="606"/>
                    </a:lnTo>
                    <a:lnTo>
                      <a:pt x="1734" y="600"/>
                    </a:lnTo>
                    <a:lnTo>
                      <a:pt x="1740" y="588"/>
                    </a:lnTo>
                    <a:lnTo>
                      <a:pt x="1740" y="582"/>
                    </a:lnTo>
                    <a:lnTo>
                      <a:pt x="1734" y="576"/>
                    </a:lnTo>
                    <a:lnTo>
                      <a:pt x="1728" y="576"/>
                    </a:lnTo>
                    <a:lnTo>
                      <a:pt x="1722" y="582"/>
                    </a:lnTo>
                    <a:lnTo>
                      <a:pt x="1716" y="582"/>
                    </a:lnTo>
                    <a:lnTo>
                      <a:pt x="1704" y="594"/>
                    </a:lnTo>
                    <a:lnTo>
                      <a:pt x="1692" y="588"/>
                    </a:lnTo>
                    <a:lnTo>
                      <a:pt x="1656" y="588"/>
                    </a:lnTo>
                    <a:lnTo>
                      <a:pt x="1644" y="582"/>
                    </a:lnTo>
                    <a:lnTo>
                      <a:pt x="1632" y="570"/>
                    </a:lnTo>
                    <a:lnTo>
                      <a:pt x="1632" y="522"/>
                    </a:lnTo>
                    <a:lnTo>
                      <a:pt x="1626" y="516"/>
                    </a:lnTo>
                    <a:lnTo>
                      <a:pt x="1626" y="504"/>
                    </a:lnTo>
                    <a:lnTo>
                      <a:pt x="1620" y="504"/>
                    </a:lnTo>
                    <a:lnTo>
                      <a:pt x="1614" y="510"/>
                    </a:lnTo>
                    <a:lnTo>
                      <a:pt x="1602" y="516"/>
                    </a:lnTo>
                    <a:lnTo>
                      <a:pt x="1596" y="522"/>
                    </a:lnTo>
                    <a:lnTo>
                      <a:pt x="1590" y="534"/>
                    </a:lnTo>
                    <a:lnTo>
                      <a:pt x="1584" y="540"/>
                    </a:lnTo>
                    <a:lnTo>
                      <a:pt x="1560" y="552"/>
                    </a:lnTo>
                    <a:lnTo>
                      <a:pt x="1554" y="558"/>
                    </a:lnTo>
                    <a:lnTo>
                      <a:pt x="1512" y="558"/>
                    </a:lnTo>
                    <a:lnTo>
                      <a:pt x="1500" y="552"/>
                    </a:lnTo>
                    <a:lnTo>
                      <a:pt x="1542" y="540"/>
                    </a:lnTo>
                    <a:lnTo>
                      <a:pt x="1548" y="528"/>
                    </a:lnTo>
                    <a:lnTo>
                      <a:pt x="1566" y="510"/>
                    </a:lnTo>
                    <a:lnTo>
                      <a:pt x="1566" y="492"/>
                    </a:lnTo>
                    <a:lnTo>
                      <a:pt x="1572" y="486"/>
                    </a:lnTo>
                    <a:lnTo>
                      <a:pt x="1590" y="450"/>
                    </a:lnTo>
                    <a:lnTo>
                      <a:pt x="1626" y="414"/>
                    </a:lnTo>
                    <a:lnTo>
                      <a:pt x="1638" y="408"/>
                    </a:lnTo>
                    <a:lnTo>
                      <a:pt x="1656" y="390"/>
                    </a:lnTo>
                    <a:lnTo>
                      <a:pt x="1656" y="378"/>
                    </a:lnTo>
                    <a:lnTo>
                      <a:pt x="1662" y="366"/>
                    </a:lnTo>
                    <a:lnTo>
                      <a:pt x="1674" y="354"/>
                    </a:lnTo>
                    <a:lnTo>
                      <a:pt x="1686" y="348"/>
                    </a:lnTo>
                    <a:lnTo>
                      <a:pt x="1692" y="342"/>
                    </a:lnTo>
                    <a:lnTo>
                      <a:pt x="1704" y="336"/>
                    </a:lnTo>
                    <a:lnTo>
                      <a:pt x="1680" y="330"/>
                    </a:lnTo>
                    <a:lnTo>
                      <a:pt x="1698" y="312"/>
                    </a:lnTo>
                    <a:lnTo>
                      <a:pt x="1698" y="294"/>
                    </a:lnTo>
                    <a:lnTo>
                      <a:pt x="1692" y="288"/>
                    </a:lnTo>
                    <a:lnTo>
                      <a:pt x="1680" y="282"/>
                    </a:lnTo>
                    <a:lnTo>
                      <a:pt x="1662" y="282"/>
                    </a:lnTo>
                    <a:lnTo>
                      <a:pt x="1650" y="276"/>
                    </a:lnTo>
                    <a:lnTo>
                      <a:pt x="1644" y="270"/>
                    </a:lnTo>
                    <a:lnTo>
                      <a:pt x="1638" y="252"/>
                    </a:lnTo>
                    <a:lnTo>
                      <a:pt x="1632" y="216"/>
                    </a:lnTo>
                    <a:lnTo>
                      <a:pt x="1626" y="168"/>
                    </a:lnTo>
                    <a:lnTo>
                      <a:pt x="1620" y="138"/>
                    </a:lnTo>
                    <a:lnTo>
                      <a:pt x="1614" y="114"/>
                    </a:lnTo>
                    <a:lnTo>
                      <a:pt x="1608" y="96"/>
                    </a:lnTo>
                    <a:lnTo>
                      <a:pt x="1602" y="84"/>
                    </a:lnTo>
                    <a:lnTo>
                      <a:pt x="1590" y="78"/>
                    </a:lnTo>
                    <a:lnTo>
                      <a:pt x="1584" y="78"/>
                    </a:lnTo>
                    <a:lnTo>
                      <a:pt x="1584" y="90"/>
                    </a:lnTo>
                    <a:lnTo>
                      <a:pt x="1590" y="96"/>
                    </a:lnTo>
                    <a:lnTo>
                      <a:pt x="1590" y="108"/>
                    </a:lnTo>
                    <a:lnTo>
                      <a:pt x="1572" y="108"/>
                    </a:lnTo>
                    <a:lnTo>
                      <a:pt x="1572" y="102"/>
                    </a:lnTo>
                    <a:lnTo>
                      <a:pt x="1566" y="108"/>
                    </a:lnTo>
                    <a:lnTo>
                      <a:pt x="1560" y="120"/>
                    </a:lnTo>
                    <a:lnTo>
                      <a:pt x="1560" y="126"/>
                    </a:lnTo>
                    <a:lnTo>
                      <a:pt x="1554" y="132"/>
                    </a:lnTo>
                    <a:lnTo>
                      <a:pt x="1548" y="144"/>
                    </a:lnTo>
                    <a:lnTo>
                      <a:pt x="1536" y="156"/>
                    </a:lnTo>
                    <a:lnTo>
                      <a:pt x="1518" y="192"/>
                    </a:lnTo>
                    <a:lnTo>
                      <a:pt x="1518" y="210"/>
                    </a:lnTo>
                    <a:lnTo>
                      <a:pt x="1494" y="246"/>
                    </a:lnTo>
                    <a:lnTo>
                      <a:pt x="1488" y="246"/>
                    </a:lnTo>
                    <a:lnTo>
                      <a:pt x="1482" y="252"/>
                    </a:lnTo>
                    <a:lnTo>
                      <a:pt x="1464" y="252"/>
                    </a:lnTo>
                    <a:lnTo>
                      <a:pt x="1452" y="240"/>
                    </a:lnTo>
                    <a:lnTo>
                      <a:pt x="1446" y="246"/>
                    </a:lnTo>
                    <a:lnTo>
                      <a:pt x="1434" y="246"/>
                    </a:lnTo>
                    <a:lnTo>
                      <a:pt x="1428" y="240"/>
                    </a:lnTo>
                    <a:lnTo>
                      <a:pt x="1416" y="240"/>
                    </a:lnTo>
                    <a:lnTo>
                      <a:pt x="1410" y="246"/>
                    </a:lnTo>
                    <a:lnTo>
                      <a:pt x="1410" y="252"/>
                    </a:lnTo>
                    <a:lnTo>
                      <a:pt x="1404" y="258"/>
                    </a:lnTo>
                    <a:lnTo>
                      <a:pt x="1380" y="258"/>
                    </a:lnTo>
                    <a:lnTo>
                      <a:pt x="1368" y="246"/>
                    </a:lnTo>
                    <a:lnTo>
                      <a:pt x="1368" y="240"/>
                    </a:lnTo>
                    <a:lnTo>
                      <a:pt x="1350" y="234"/>
                    </a:lnTo>
                    <a:lnTo>
                      <a:pt x="1344" y="228"/>
                    </a:lnTo>
                    <a:lnTo>
                      <a:pt x="1338" y="216"/>
                    </a:lnTo>
                    <a:lnTo>
                      <a:pt x="1332" y="216"/>
                    </a:lnTo>
                    <a:lnTo>
                      <a:pt x="1320" y="222"/>
                    </a:lnTo>
                    <a:lnTo>
                      <a:pt x="1314" y="228"/>
                    </a:lnTo>
                    <a:lnTo>
                      <a:pt x="1302" y="234"/>
                    </a:lnTo>
                    <a:lnTo>
                      <a:pt x="1278" y="234"/>
                    </a:lnTo>
                    <a:lnTo>
                      <a:pt x="1278" y="222"/>
                    </a:lnTo>
                    <a:lnTo>
                      <a:pt x="1272" y="222"/>
                    </a:lnTo>
                    <a:lnTo>
                      <a:pt x="1260" y="228"/>
                    </a:lnTo>
                    <a:lnTo>
                      <a:pt x="1260" y="252"/>
                    </a:lnTo>
                    <a:lnTo>
                      <a:pt x="1272" y="264"/>
                    </a:lnTo>
                    <a:lnTo>
                      <a:pt x="1272" y="270"/>
                    </a:lnTo>
                    <a:lnTo>
                      <a:pt x="1278" y="276"/>
                    </a:lnTo>
                    <a:lnTo>
                      <a:pt x="1272" y="282"/>
                    </a:lnTo>
                    <a:lnTo>
                      <a:pt x="1254" y="282"/>
                    </a:lnTo>
                    <a:lnTo>
                      <a:pt x="1230" y="270"/>
                    </a:lnTo>
                    <a:lnTo>
                      <a:pt x="1224" y="270"/>
                    </a:lnTo>
                    <a:lnTo>
                      <a:pt x="1212" y="264"/>
                    </a:lnTo>
                    <a:lnTo>
                      <a:pt x="1212" y="270"/>
                    </a:lnTo>
                    <a:lnTo>
                      <a:pt x="1206" y="276"/>
                    </a:lnTo>
                    <a:lnTo>
                      <a:pt x="1200" y="276"/>
                    </a:lnTo>
                    <a:lnTo>
                      <a:pt x="1188" y="264"/>
                    </a:lnTo>
                    <a:lnTo>
                      <a:pt x="1176" y="264"/>
                    </a:lnTo>
                    <a:lnTo>
                      <a:pt x="1158" y="282"/>
                    </a:lnTo>
                    <a:lnTo>
                      <a:pt x="1158" y="288"/>
                    </a:lnTo>
                    <a:lnTo>
                      <a:pt x="1128" y="288"/>
                    </a:lnTo>
                    <a:lnTo>
                      <a:pt x="1122" y="300"/>
                    </a:lnTo>
                    <a:lnTo>
                      <a:pt x="1104" y="300"/>
                    </a:lnTo>
                    <a:lnTo>
                      <a:pt x="1092" y="312"/>
                    </a:lnTo>
                    <a:lnTo>
                      <a:pt x="1092" y="324"/>
                    </a:lnTo>
                    <a:lnTo>
                      <a:pt x="1086" y="330"/>
                    </a:lnTo>
                    <a:lnTo>
                      <a:pt x="1050" y="330"/>
                    </a:lnTo>
                    <a:lnTo>
                      <a:pt x="1044" y="318"/>
                    </a:lnTo>
                    <a:lnTo>
                      <a:pt x="1032" y="318"/>
                    </a:lnTo>
                    <a:lnTo>
                      <a:pt x="1002" y="282"/>
                    </a:lnTo>
                    <a:lnTo>
                      <a:pt x="1002" y="252"/>
                    </a:lnTo>
                    <a:lnTo>
                      <a:pt x="978" y="228"/>
                    </a:lnTo>
                    <a:lnTo>
                      <a:pt x="972" y="216"/>
                    </a:lnTo>
                    <a:lnTo>
                      <a:pt x="972" y="210"/>
                    </a:lnTo>
                    <a:lnTo>
                      <a:pt x="978" y="198"/>
                    </a:lnTo>
                    <a:lnTo>
                      <a:pt x="978" y="192"/>
                    </a:lnTo>
                    <a:lnTo>
                      <a:pt x="984" y="180"/>
                    </a:lnTo>
                    <a:lnTo>
                      <a:pt x="996" y="138"/>
                    </a:lnTo>
                    <a:lnTo>
                      <a:pt x="1008" y="126"/>
                    </a:lnTo>
                    <a:lnTo>
                      <a:pt x="1014" y="114"/>
                    </a:lnTo>
                    <a:lnTo>
                      <a:pt x="1014" y="102"/>
                    </a:lnTo>
                    <a:lnTo>
                      <a:pt x="1008" y="102"/>
                    </a:lnTo>
                    <a:lnTo>
                      <a:pt x="1002" y="96"/>
                    </a:lnTo>
                    <a:lnTo>
                      <a:pt x="1002" y="66"/>
                    </a:lnTo>
                    <a:lnTo>
                      <a:pt x="996" y="66"/>
                    </a:lnTo>
                    <a:lnTo>
                      <a:pt x="984" y="72"/>
                    </a:lnTo>
                    <a:lnTo>
                      <a:pt x="978" y="72"/>
                    </a:lnTo>
                    <a:lnTo>
                      <a:pt x="972" y="66"/>
                    </a:lnTo>
                    <a:lnTo>
                      <a:pt x="972" y="60"/>
                    </a:lnTo>
                    <a:lnTo>
                      <a:pt x="978" y="54"/>
                    </a:lnTo>
                    <a:lnTo>
                      <a:pt x="984" y="42"/>
                    </a:lnTo>
                    <a:lnTo>
                      <a:pt x="984" y="24"/>
                    </a:lnTo>
                    <a:lnTo>
                      <a:pt x="978" y="12"/>
                    </a:lnTo>
                    <a:lnTo>
                      <a:pt x="966" y="0"/>
                    </a:lnTo>
                    <a:lnTo>
                      <a:pt x="960" y="12"/>
                    </a:lnTo>
                    <a:lnTo>
                      <a:pt x="936" y="6"/>
                    </a:lnTo>
                    <a:lnTo>
                      <a:pt x="936" y="42"/>
                    </a:lnTo>
                    <a:lnTo>
                      <a:pt x="930" y="48"/>
                    </a:lnTo>
                    <a:lnTo>
                      <a:pt x="918" y="48"/>
                    </a:lnTo>
                    <a:lnTo>
                      <a:pt x="918" y="60"/>
                    </a:lnTo>
                    <a:lnTo>
                      <a:pt x="894" y="60"/>
                    </a:lnTo>
                    <a:lnTo>
                      <a:pt x="882" y="66"/>
                    </a:lnTo>
                    <a:lnTo>
                      <a:pt x="858" y="90"/>
                    </a:lnTo>
                    <a:lnTo>
                      <a:pt x="846" y="96"/>
                    </a:lnTo>
                    <a:lnTo>
                      <a:pt x="828" y="96"/>
                    </a:lnTo>
                    <a:lnTo>
                      <a:pt x="822" y="90"/>
                    </a:lnTo>
                    <a:lnTo>
                      <a:pt x="804" y="90"/>
                    </a:lnTo>
                    <a:lnTo>
                      <a:pt x="798" y="96"/>
                    </a:lnTo>
                    <a:lnTo>
                      <a:pt x="798" y="108"/>
                    </a:lnTo>
                    <a:lnTo>
                      <a:pt x="792" y="120"/>
                    </a:lnTo>
                    <a:lnTo>
                      <a:pt x="792" y="138"/>
                    </a:lnTo>
                    <a:lnTo>
                      <a:pt x="786" y="144"/>
                    </a:lnTo>
                    <a:lnTo>
                      <a:pt x="774" y="138"/>
                    </a:lnTo>
                    <a:lnTo>
                      <a:pt x="762" y="126"/>
                    </a:lnTo>
                    <a:lnTo>
                      <a:pt x="756" y="114"/>
                    </a:lnTo>
                    <a:lnTo>
                      <a:pt x="750" y="108"/>
                    </a:lnTo>
                    <a:lnTo>
                      <a:pt x="738" y="108"/>
                    </a:lnTo>
                    <a:lnTo>
                      <a:pt x="732" y="114"/>
                    </a:lnTo>
                    <a:lnTo>
                      <a:pt x="720" y="108"/>
                    </a:lnTo>
                    <a:lnTo>
                      <a:pt x="708" y="114"/>
                    </a:lnTo>
                    <a:lnTo>
                      <a:pt x="696" y="114"/>
                    </a:lnTo>
                    <a:lnTo>
                      <a:pt x="696" y="96"/>
                    </a:lnTo>
                    <a:lnTo>
                      <a:pt x="690" y="90"/>
                    </a:lnTo>
                    <a:lnTo>
                      <a:pt x="648" y="90"/>
                    </a:lnTo>
                    <a:lnTo>
                      <a:pt x="648" y="84"/>
                    </a:lnTo>
                    <a:lnTo>
                      <a:pt x="642" y="78"/>
                    </a:lnTo>
                    <a:lnTo>
                      <a:pt x="642" y="108"/>
                    </a:lnTo>
                    <a:lnTo>
                      <a:pt x="660" y="126"/>
                    </a:lnTo>
                    <a:lnTo>
                      <a:pt x="672" y="132"/>
                    </a:lnTo>
                    <a:lnTo>
                      <a:pt x="678" y="138"/>
                    </a:lnTo>
                    <a:lnTo>
                      <a:pt x="678" y="168"/>
                    </a:lnTo>
                    <a:lnTo>
                      <a:pt x="672" y="174"/>
                    </a:lnTo>
                    <a:lnTo>
                      <a:pt x="684" y="186"/>
                    </a:lnTo>
                    <a:lnTo>
                      <a:pt x="690" y="198"/>
                    </a:lnTo>
                    <a:lnTo>
                      <a:pt x="690" y="228"/>
                    </a:lnTo>
                    <a:lnTo>
                      <a:pt x="738" y="234"/>
                    </a:lnTo>
                    <a:lnTo>
                      <a:pt x="744" y="240"/>
                    </a:lnTo>
                    <a:lnTo>
                      <a:pt x="744" y="246"/>
                    </a:lnTo>
                    <a:lnTo>
                      <a:pt x="738" y="258"/>
                    </a:lnTo>
                    <a:lnTo>
                      <a:pt x="732" y="264"/>
                    </a:lnTo>
                    <a:lnTo>
                      <a:pt x="690" y="264"/>
                    </a:lnTo>
                    <a:lnTo>
                      <a:pt x="690" y="294"/>
                    </a:lnTo>
                    <a:lnTo>
                      <a:pt x="684" y="306"/>
                    </a:lnTo>
                    <a:lnTo>
                      <a:pt x="648" y="324"/>
                    </a:lnTo>
                    <a:lnTo>
                      <a:pt x="642" y="330"/>
                    </a:lnTo>
                    <a:lnTo>
                      <a:pt x="624" y="330"/>
                    </a:lnTo>
                    <a:lnTo>
                      <a:pt x="612" y="342"/>
                    </a:lnTo>
                    <a:lnTo>
                      <a:pt x="600" y="366"/>
                    </a:lnTo>
                    <a:lnTo>
                      <a:pt x="588" y="378"/>
                    </a:lnTo>
                    <a:lnTo>
                      <a:pt x="582" y="378"/>
                    </a:lnTo>
                    <a:lnTo>
                      <a:pt x="582" y="354"/>
                    </a:lnTo>
                    <a:lnTo>
                      <a:pt x="576" y="348"/>
                    </a:lnTo>
                    <a:lnTo>
                      <a:pt x="570" y="354"/>
                    </a:lnTo>
                    <a:lnTo>
                      <a:pt x="558" y="360"/>
                    </a:lnTo>
                    <a:lnTo>
                      <a:pt x="552" y="366"/>
                    </a:lnTo>
                    <a:lnTo>
                      <a:pt x="540" y="372"/>
                    </a:lnTo>
                    <a:lnTo>
                      <a:pt x="534" y="372"/>
                    </a:lnTo>
                    <a:lnTo>
                      <a:pt x="522" y="366"/>
                    </a:lnTo>
                    <a:lnTo>
                      <a:pt x="516" y="366"/>
                    </a:lnTo>
                    <a:lnTo>
                      <a:pt x="504" y="354"/>
                    </a:lnTo>
                    <a:lnTo>
                      <a:pt x="504" y="348"/>
                    </a:lnTo>
                    <a:lnTo>
                      <a:pt x="498" y="336"/>
                    </a:lnTo>
                    <a:lnTo>
                      <a:pt x="492" y="330"/>
                    </a:lnTo>
                    <a:lnTo>
                      <a:pt x="468" y="330"/>
                    </a:lnTo>
                    <a:lnTo>
                      <a:pt x="468" y="300"/>
                    </a:lnTo>
                    <a:lnTo>
                      <a:pt x="462" y="288"/>
                    </a:lnTo>
                    <a:lnTo>
                      <a:pt x="462" y="276"/>
                    </a:lnTo>
                    <a:lnTo>
                      <a:pt x="456" y="270"/>
                    </a:lnTo>
                    <a:lnTo>
                      <a:pt x="456" y="258"/>
                    </a:lnTo>
                    <a:lnTo>
                      <a:pt x="450" y="258"/>
                    </a:lnTo>
                    <a:lnTo>
                      <a:pt x="420" y="288"/>
                    </a:lnTo>
                    <a:lnTo>
                      <a:pt x="396" y="264"/>
                    </a:lnTo>
                    <a:lnTo>
                      <a:pt x="390" y="264"/>
                    </a:lnTo>
                    <a:lnTo>
                      <a:pt x="384" y="270"/>
                    </a:lnTo>
                    <a:lnTo>
                      <a:pt x="384" y="288"/>
                    </a:lnTo>
                    <a:lnTo>
                      <a:pt x="318" y="294"/>
                    </a:lnTo>
                    <a:lnTo>
                      <a:pt x="306" y="282"/>
                    </a:lnTo>
                    <a:lnTo>
                      <a:pt x="288" y="282"/>
                    </a:lnTo>
                    <a:lnTo>
                      <a:pt x="282" y="288"/>
                    </a:lnTo>
                    <a:lnTo>
                      <a:pt x="276" y="300"/>
                    </a:lnTo>
                    <a:lnTo>
                      <a:pt x="276" y="312"/>
                    </a:lnTo>
                    <a:lnTo>
                      <a:pt x="282" y="324"/>
                    </a:lnTo>
                    <a:lnTo>
                      <a:pt x="282" y="336"/>
                    </a:lnTo>
                    <a:lnTo>
                      <a:pt x="306" y="348"/>
                    </a:lnTo>
                    <a:lnTo>
                      <a:pt x="318" y="342"/>
                    </a:lnTo>
                    <a:lnTo>
                      <a:pt x="330" y="354"/>
                    </a:lnTo>
                    <a:lnTo>
                      <a:pt x="330" y="360"/>
                    </a:lnTo>
                    <a:lnTo>
                      <a:pt x="336" y="366"/>
                    </a:lnTo>
                    <a:lnTo>
                      <a:pt x="336" y="372"/>
                    </a:lnTo>
                    <a:lnTo>
                      <a:pt x="330" y="378"/>
                    </a:lnTo>
                    <a:lnTo>
                      <a:pt x="300" y="378"/>
                    </a:lnTo>
                    <a:lnTo>
                      <a:pt x="294" y="372"/>
                    </a:lnTo>
                    <a:lnTo>
                      <a:pt x="264" y="378"/>
                    </a:lnTo>
                    <a:lnTo>
                      <a:pt x="258" y="444"/>
                    </a:lnTo>
                    <a:lnTo>
                      <a:pt x="264" y="444"/>
                    </a:lnTo>
                    <a:lnTo>
                      <a:pt x="276" y="456"/>
                    </a:lnTo>
                    <a:lnTo>
                      <a:pt x="288" y="462"/>
                    </a:lnTo>
                    <a:lnTo>
                      <a:pt x="294" y="468"/>
                    </a:lnTo>
                    <a:lnTo>
                      <a:pt x="294" y="492"/>
                    </a:lnTo>
                    <a:lnTo>
                      <a:pt x="300" y="498"/>
                    </a:lnTo>
                    <a:lnTo>
                      <a:pt x="300" y="504"/>
                    </a:lnTo>
                    <a:lnTo>
                      <a:pt x="312" y="516"/>
                    </a:lnTo>
                    <a:lnTo>
                      <a:pt x="318" y="528"/>
                    </a:lnTo>
                    <a:lnTo>
                      <a:pt x="318" y="540"/>
                    </a:lnTo>
                    <a:lnTo>
                      <a:pt x="312" y="552"/>
                    </a:lnTo>
                    <a:lnTo>
                      <a:pt x="300" y="564"/>
                    </a:lnTo>
                    <a:lnTo>
                      <a:pt x="306" y="612"/>
                    </a:lnTo>
                    <a:lnTo>
                      <a:pt x="288" y="660"/>
                    </a:lnTo>
                    <a:lnTo>
                      <a:pt x="282" y="732"/>
                    </a:lnTo>
                    <a:lnTo>
                      <a:pt x="282" y="762"/>
                    </a:lnTo>
                    <a:lnTo>
                      <a:pt x="276" y="774"/>
                    </a:lnTo>
                    <a:lnTo>
                      <a:pt x="270" y="780"/>
                    </a:lnTo>
                    <a:lnTo>
                      <a:pt x="252" y="780"/>
                    </a:lnTo>
                    <a:lnTo>
                      <a:pt x="252" y="774"/>
                    </a:lnTo>
                    <a:lnTo>
                      <a:pt x="240" y="762"/>
                    </a:lnTo>
                    <a:lnTo>
                      <a:pt x="222" y="762"/>
                    </a:lnTo>
                    <a:lnTo>
                      <a:pt x="216" y="768"/>
                    </a:lnTo>
                    <a:lnTo>
                      <a:pt x="210" y="780"/>
                    </a:lnTo>
                    <a:lnTo>
                      <a:pt x="204" y="786"/>
                    </a:lnTo>
                    <a:lnTo>
                      <a:pt x="174" y="780"/>
                    </a:lnTo>
                    <a:lnTo>
                      <a:pt x="168" y="792"/>
                    </a:lnTo>
                    <a:lnTo>
                      <a:pt x="138" y="792"/>
                    </a:lnTo>
                    <a:lnTo>
                      <a:pt x="126" y="798"/>
                    </a:lnTo>
                    <a:lnTo>
                      <a:pt x="120" y="804"/>
                    </a:lnTo>
                    <a:lnTo>
                      <a:pt x="108" y="810"/>
                    </a:lnTo>
                    <a:lnTo>
                      <a:pt x="96" y="822"/>
                    </a:lnTo>
                    <a:lnTo>
                      <a:pt x="96" y="828"/>
                    </a:lnTo>
                    <a:lnTo>
                      <a:pt x="90" y="834"/>
                    </a:lnTo>
                    <a:lnTo>
                      <a:pt x="90" y="840"/>
                    </a:lnTo>
                    <a:lnTo>
                      <a:pt x="66" y="840"/>
                    </a:lnTo>
                    <a:lnTo>
                      <a:pt x="66" y="894"/>
                    </a:lnTo>
                    <a:lnTo>
                      <a:pt x="48" y="912"/>
                    </a:lnTo>
                    <a:lnTo>
                      <a:pt x="48" y="924"/>
                    </a:lnTo>
                    <a:lnTo>
                      <a:pt x="54" y="930"/>
                    </a:lnTo>
                    <a:lnTo>
                      <a:pt x="54" y="948"/>
                    </a:lnTo>
                    <a:lnTo>
                      <a:pt x="60" y="954"/>
                    </a:lnTo>
                    <a:lnTo>
                      <a:pt x="54" y="954"/>
                    </a:lnTo>
                    <a:lnTo>
                      <a:pt x="48" y="948"/>
                    </a:lnTo>
                    <a:lnTo>
                      <a:pt x="18" y="978"/>
                    </a:lnTo>
                    <a:lnTo>
                      <a:pt x="12" y="990"/>
                    </a:lnTo>
                    <a:lnTo>
                      <a:pt x="12" y="1014"/>
                    </a:lnTo>
                    <a:lnTo>
                      <a:pt x="18" y="1020"/>
                    </a:lnTo>
                    <a:lnTo>
                      <a:pt x="6" y="1026"/>
                    </a:lnTo>
                    <a:lnTo>
                      <a:pt x="0" y="1032"/>
                    </a:lnTo>
                    <a:lnTo>
                      <a:pt x="0" y="1044"/>
                    </a:lnTo>
                    <a:lnTo>
                      <a:pt x="6" y="1050"/>
                    </a:lnTo>
                    <a:lnTo>
                      <a:pt x="18" y="1056"/>
                    </a:lnTo>
                    <a:lnTo>
                      <a:pt x="24" y="1080"/>
                    </a:lnTo>
                    <a:lnTo>
                      <a:pt x="24" y="1086"/>
                    </a:lnTo>
                    <a:lnTo>
                      <a:pt x="30" y="1092"/>
                    </a:lnTo>
                    <a:lnTo>
                      <a:pt x="42" y="1116"/>
                    </a:lnTo>
                    <a:lnTo>
                      <a:pt x="54" y="1128"/>
                    </a:lnTo>
                    <a:lnTo>
                      <a:pt x="66" y="1134"/>
                    </a:lnTo>
                    <a:lnTo>
                      <a:pt x="90" y="1158"/>
                    </a:lnTo>
                    <a:lnTo>
                      <a:pt x="84" y="1164"/>
                    </a:lnTo>
                    <a:lnTo>
                      <a:pt x="78" y="1176"/>
                    </a:lnTo>
                    <a:lnTo>
                      <a:pt x="66" y="1182"/>
                    </a:lnTo>
                    <a:lnTo>
                      <a:pt x="60" y="1188"/>
                    </a:lnTo>
                    <a:lnTo>
                      <a:pt x="102" y="1188"/>
                    </a:lnTo>
                    <a:lnTo>
                      <a:pt x="114" y="1194"/>
                    </a:lnTo>
                    <a:lnTo>
                      <a:pt x="120" y="1194"/>
                    </a:lnTo>
                    <a:lnTo>
                      <a:pt x="126" y="1200"/>
                    </a:lnTo>
                    <a:lnTo>
                      <a:pt x="126" y="1212"/>
                    </a:lnTo>
                    <a:lnTo>
                      <a:pt x="132" y="1224"/>
                    </a:lnTo>
                    <a:lnTo>
                      <a:pt x="138" y="1230"/>
                    </a:lnTo>
                    <a:lnTo>
                      <a:pt x="138" y="1236"/>
                    </a:lnTo>
                    <a:lnTo>
                      <a:pt x="198" y="1230"/>
                    </a:lnTo>
                    <a:lnTo>
                      <a:pt x="252" y="1182"/>
                    </a:lnTo>
                    <a:lnTo>
                      <a:pt x="252" y="1194"/>
                    </a:lnTo>
                    <a:lnTo>
                      <a:pt x="258" y="1206"/>
                    </a:lnTo>
                    <a:lnTo>
                      <a:pt x="258" y="1224"/>
                    </a:lnTo>
                    <a:lnTo>
                      <a:pt x="252" y="1230"/>
                    </a:lnTo>
                    <a:lnTo>
                      <a:pt x="252" y="1242"/>
                    </a:lnTo>
                    <a:lnTo>
                      <a:pt x="246" y="1254"/>
                    </a:lnTo>
                    <a:lnTo>
                      <a:pt x="246" y="1266"/>
                    </a:lnTo>
                    <a:lnTo>
                      <a:pt x="252" y="1284"/>
                    </a:lnTo>
                    <a:lnTo>
                      <a:pt x="252" y="1314"/>
                    </a:lnTo>
                    <a:lnTo>
                      <a:pt x="264" y="1308"/>
                    </a:lnTo>
                    <a:lnTo>
                      <a:pt x="264" y="1314"/>
                    </a:lnTo>
                    <a:lnTo>
                      <a:pt x="270" y="1320"/>
                    </a:lnTo>
                    <a:lnTo>
                      <a:pt x="282" y="1320"/>
                    </a:lnTo>
                    <a:lnTo>
                      <a:pt x="282" y="1314"/>
                    </a:lnTo>
                    <a:lnTo>
                      <a:pt x="288" y="1314"/>
                    </a:lnTo>
                    <a:lnTo>
                      <a:pt x="294" y="1308"/>
                    </a:lnTo>
                    <a:lnTo>
                      <a:pt x="324" y="1308"/>
                    </a:lnTo>
                    <a:lnTo>
                      <a:pt x="336" y="1314"/>
                    </a:lnTo>
                    <a:lnTo>
                      <a:pt x="366" y="1314"/>
                    </a:lnTo>
                    <a:lnTo>
                      <a:pt x="372" y="1320"/>
                    </a:lnTo>
                    <a:lnTo>
                      <a:pt x="372" y="1326"/>
                    </a:lnTo>
                    <a:lnTo>
                      <a:pt x="390" y="1326"/>
                    </a:lnTo>
                    <a:lnTo>
                      <a:pt x="414" y="1314"/>
                    </a:lnTo>
                    <a:lnTo>
                      <a:pt x="420" y="1308"/>
                    </a:lnTo>
                    <a:lnTo>
                      <a:pt x="432" y="1290"/>
                    </a:lnTo>
                    <a:lnTo>
                      <a:pt x="468" y="1290"/>
                    </a:lnTo>
                    <a:lnTo>
                      <a:pt x="474" y="1260"/>
                    </a:lnTo>
                    <a:lnTo>
                      <a:pt x="510" y="1260"/>
                    </a:lnTo>
                    <a:lnTo>
                      <a:pt x="510" y="1254"/>
                    </a:lnTo>
                    <a:lnTo>
                      <a:pt x="516" y="1248"/>
                    </a:lnTo>
                    <a:lnTo>
                      <a:pt x="522" y="1236"/>
                    </a:lnTo>
                    <a:lnTo>
                      <a:pt x="528" y="1230"/>
                    </a:lnTo>
                    <a:lnTo>
                      <a:pt x="540" y="1224"/>
                    </a:lnTo>
                    <a:lnTo>
                      <a:pt x="576" y="1224"/>
                    </a:lnTo>
                    <a:lnTo>
                      <a:pt x="588" y="1212"/>
                    </a:lnTo>
                    <a:lnTo>
                      <a:pt x="600" y="1224"/>
                    </a:lnTo>
                    <a:lnTo>
                      <a:pt x="606" y="1224"/>
                    </a:lnTo>
                    <a:lnTo>
                      <a:pt x="606" y="1218"/>
                    </a:lnTo>
                    <a:lnTo>
                      <a:pt x="618" y="1212"/>
                    </a:lnTo>
                    <a:lnTo>
                      <a:pt x="630" y="1212"/>
                    </a:lnTo>
                    <a:lnTo>
                      <a:pt x="630" y="1242"/>
                    </a:lnTo>
                    <a:lnTo>
                      <a:pt x="624" y="1248"/>
                    </a:lnTo>
                    <a:lnTo>
                      <a:pt x="624" y="1254"/>
                    </a:lnTo>
                    <a:lnTo>
                      <a:pt x="618" y="1260"/>
                    </a:lnTo>
                    <a:lnTo>
                      <a:pt x="618" y="1290"/>
                    </a:lnTo>
                    <a:lnTo>
                      <a:pt x="624" y="1296"/>
                    </a:lnTo>
                    <a:lnTo>
                      <a:pt x="630" y="1308"/>
                    </a:lnTo>
                    <a:lnTo>
                      <a:pt x="630" y="1326"/>
                    </a:lnTo>
                    <a:lnTo>
                      <a:pt x="624" y="1332"/>
                    </a:lnTo>
                    <a:lnTo>
                      <a:pt x="624" y="1344"/>
                    </a:lnTo>
                    <a:lnTo>
                      <a:pt x="636" y="1356"/>
                    </a:lnTo>
                    <a:lnTo>
                      <a:pt x="648" y="1362"/>
                    </a:lnTo>
                    <a:lnTo>
                      <a:pt x="654" y="1368"/>
                    </a:lnTo>
                    <a:lnTo>
                      <a:pt x="660" y="1398"/>
                    </a:lnTo>
                    <a:lnTo>
                      <a:pt x="684" y="1398"/>
                    </a:lnTo>
                    <a:lnTo>
                      <a:pt x="690" y="1404"/>
                    </a:lnTo>
                    <a:lnTo>
                      <a:pt x="690" y="1410"/>
                    </a:lnTo>
                    <a:lnTo>
                      <a:pt x="696" y="1422"/>
                    </a:lnTo>
                    <a:lnTo>
                      <a:pt x="696" y="1428"/>
                    </a:lnTo>
                    <a:lnTo>
                      <a:pt x="702" y="1434"/>
                    </a:lnTo>
                    <a:lnTo>
                      <a:pt x="714" y="1440"/>
                    </a:lnTo>
                    <a:lnTo>
                      <a:pt x="744" y="1440"/>
                    </a:lnTo>
                    <a:lnTo>
                      <a:pt x="750" y="1434"/>
                    </a:lnTo>
                    <a:lnTo>
                      <a:pt x="756" y="1446"/>
                    </a:lnTo>
                    <a:lnTo>
                      <a:pt x="768" y="1452"/>
                    </a:lnTo>
                    <a:lnTo>
                      <a:pt x="780" y="1452"/>
                    </a:lnTo>
                    <a:lnTo>
                      <a:pt x="786" y="1446"/>
                    </a:lnTo>
                    <a:lnTo>
                      <a:pt x="798" y="1446"/>
                    </a:lnTo>
                    <a:lnTo>
                      <a:pt x="798" y="1452"/>
                    </a:lnTo>
                    <a:lnTo>
                      <a:pt x="804" y="1464"/>
                    </a:lnTo>
                    <a:lnTo>
                      <a:pt x="816" y="1470"/>
                    </a:lnTo>
                    <a:lnTo>
                      <a:pt x="828" y="1482"/>
                    </a:lnTo>
                    <a:lnTo>
                      <a:pt x="840" y="1488"/>
                    </a:lnTo>
                    <a:lnTo>
                      <a:pt x="864" y="1488"/>
                    </a:lnTo>
                    <a:lnTo>
                      <a:pt x="864" y="1494"/>
                    </a:lnTo>
                    <a:lnTo>
                      <a:pt x="876" y="1506"/>
                    </a:lnTo>
                    <a:lnTo>
                      <a:pt x="888" y="1512"/>
                    </a:lnTo>
                    <a:lnTo>
                      <a:pt x="894" y="1518"/>
                    </a:lnTo>
                    <a:lnTo>
                      <a:pt x="954" y="1518"/>
                    </a:lnTo>
                    <a:lnTo>
                      <a:pt x="978" y="1530"/>
                    </a:lnTo>
                    <a:lnTo>
                      <a:pt x="984" y="1542"/>
                    </a:lnTo>
                    <a:lnTo>
                      <a:pt x="990" y="1548"/>
                    </a:lnTo>
                    <a:lnTo>
                      <a:pt x="990" y="1578"/>
                    </a:lnTo>
                    <a:lnTo>
                      <a:pt x="996" y="1590"/>
                    </a:lnTo>
                    <a:lnTo>
                      <a:pt x="1002" y="1596"/>
                    </a:lnTo>
                    <a:lnTo>
                      <a:pt x="1008" y="1608"/>
                    </a:lnTo>
                    <a:lnTo>
                      <a:pt x="1008" y="1638"/>
                    </a:lnTo>
                    <a:lnTo>
                      <a:pt x="990" y="1638"/>
                    </a:lnTo>
                    <a:lnTo>
                      <a:pt x="990" y="1644"/>
                    </a:lnTo>
                    <a:lnTo>
                      <a:pt x="996" y="1650"/>
                    </a:lnTo>
                    <a:lnTo>
                      <a:pt x="1002" y="1662"/>
                    </a:lnTo>
                    <a:lnTo>
                      <a:pt x="1014" y="1668"/>
                    </a:lnTo>
                    <a:lnTo>
                      <a:pt x="1020" y="1674"/>
                    </a:lnTo>
                    <a:lnTo>
                      <a:pt x="1014" y="1686"/>
                    </a:lnTo>
                    <a:lnTo>
                      <a:pt x="1014" y="1728"/>
                    </a:lnTo>
                    <a:lnTo>
                      <a:pt x="1020" y="1734"/>
                    </a:lnTo>
                    <a:lnTo>
                      <a:pt x="1050" y="1740"/>
                    </a:lnTo>
                    <a:lnTo>
                      <a:pt x="1098" y="1746"/>
                    </a:lnTo>
                    <a:lnTo>
                      <a:pt x="1158" y="1746"/>
                    </a:lnTo>
                    <a:lnTo>
                      <a:pt x="1158" y="1752"/>
                    </a:lnTo>
                    <a:lnTo>
                      <a:pt x="1152" y="1758"/>
                    </a:lnTo>
                    <a:lnTo>
                      <a:pt x="1152" y="1770"/>
                    </a:lnTo>
                    <a:lnTo>
                      <a:pt x="1146" y="1788"/>
                    </a:lnTo>
                    <a:lnTo>
                      <a:pt x="1146" y="1800"/>
                    </a:lnTo>
                    <a:lnTo>
                      <a:pt x="1152" y="1812"/>
                    </a:lnTo>
                    <a:lnTo>
                      <a:pt x="1164" y="1818"/>
                    </a:lnTo>
                    <a:lnTo>
                      <a:pt x="1170" y="1824"/>
                    </a:lnTo>
                    <a:lnTo>
                      <a:pt x="1194" y="1836"/>
                    </a:lnTo>
                    <a:lnTo>
                      <a:pt x="1206" y="1848"/>
                    </a:lnTo>
                    <a:lnTo>
                      <a:pt x="1212" y="1860"/>
                    </a:lnTo>
                    <a:lnTo>
                      <a:pt x="1224" y="1896"/>
                    </a:lnTo>
                    <a:lnTo>
                      <a:pt x="1224" y="1908"/>
                    </a:lnTo>
                    <a:lnTo>
                      <a:pt x="1218" y="1920"/>
                    </a:lnTo>
                    <a:lnTo>
                      <a:pt x="1218" y="1944"/>
                    </a:lnTo>
                    <a:lnTo>
                      <a:pt x="1212" y="1950"/>
                    </a:lnTo>
                    <a:lnTo>
                      <a:pt x="1212" y="1956"/>
                    </a:lnTo>
                    <a:lnTo>
                      <a:pt x="1218" y="1968"/>
                    </a:lnTo>
                    <a:lnTo>
                      <a:pt x="1212" y="1980"/>
                    </a:lnTo>
                    <a:lnTo>
                      <a:pt x="1206" y="1986"/>
                    </a:lnTo>
                    <a:lnTo>
                      <a:pt x="1200" y="1998"/>
                    </a:lnTo>
                    <a:lnTo>
                      <a:pt x="1200" y="2022"/>
                    </a:lnTo>
                    <a:lnTo>
                      <a:pt x="1206" y="2028"/>
                    </a:lnTo>
                    <a:lnTo>
                      <a:pt x="1218" y="2034"/>
                    </a:lnTo>
                    <a:lnTo>
                      <a:pt x="1212" y="2040"/>
                    </a:lnTo>
                    <a:lnTo>
                      <a:pt x="1200" y="2046"/>
                    </a:lnTo>
                    <a:lnTo>
                      <a:pt x="1194" y="2052"/>
                    </a:lnTo>
                    <a:lnTo>
                      <a:pt x="1194" y="2064"/>
                    </a:lnTo>
                    <a:lnTo>
                      <a:pt x="1200" y="2070"/>
                    </a:lnTo>
                    <a:lnTo>
                      <a:pt x="1212" y="2076"/>
                    </a:lnTo>
                    <a:lnTo>
                      <a:pt x="1212" y="2112"/>
                    </a:lnTo>
                    <a:lnTo>
                      <a:pt x="1224" y="2112"/>
                    </a:lnTo>
                    <a:lnTo>
                      <a:pt x="1224" y="2130"/>
                    </a:lnTo>
                    <a:lnTo>
                      <a:pt x="1218" y="2142"/>
                    </a:lnTo>
                    <a:lnTo>
                      <a:pt x="1218" y="2184"/>
                    </a:lnTo>
                    <a:lnTo>
                      <a:pt x="1224" y="2196"/>
                    </a:lnTo>
                    <a:lnTo>
                      <a:pt x="1230" y="2202"/>
                    </a:lnTo>
                    <a:lnTo>
                      <a:pt x="1266" y="2214"/>
                    </a:lnTo>
                    <a:lnTo>
                      <a:pt x="1308" y="2220"/>
                    </a:lnTo>
                    <a:lnTo>
                      <a:pt x="1380" y="2220"/>
                    </a:lnTo>
                    <a:lnTo>
                      <a:pt x="1392" y="2226"/>
                    </a:lnTo>
                    <a:lnTo>
                      <a:pt x="1398" y="2232"/>
                    </a:lnTo>
                    <a:lnTo>
                      <a:pt x="1398" y="2256"/>
                    </a:lnTo>
                    <a:lnTo>
                      <a:pt x="1404" y="2274"/>
                    </a:lnTo>
                    <a:lnTo>
                      <a:pt x="1404" y="2298"/>
                    </a:lnTo>
                    <a:lnTo>
                      <a:pt x="1410" y="2316"/>
                    </a:lnTo>
                    <a:lnTo>
                      <a:pt x="1410" y="2334"/>
                    </a:lnTo>
                    <a:lnTo>
                      <a:pt x="1422" y="2358"/>
                    </a:lnTo>
                    <a:lnTo>
                      <a:pt x="1434" y="2364"/>
                    </a:lnTo>
                    <a:lnTo>
                      <a:pt x="1446" y="2364"/>
                    </a:lnTo>
                    <a:lnTo>
                      <a:pt x="1464" y="2346"/>
                    </a:lnTo>
                    <a:lnTo>
                      <a:pt x="1476" y="2346"/>
                    </a:lnTo>
                    <a:lnTo>
                      <a:pt x="1488" y="2352"/>
                    </a:lnTo>
                    <a:lnTo>
                      <a:pt x="1500" y="2364"/>
                    </a:lnTo>
                    <a:lnTo>
                      <a:pt x="1506" y="2376"/>
                    </a:lnTo>
                    <a:lnTo>
                      <a:pt x="1506" y="2394"/>
                    </a:lnTo>
                    <a:lnTo>
                      <a:pt x="1500" y="2412"/>
                    </a:lnTo>
                    <a:lnTo>
                      <a:pt x="1500" y="2442"/>
                    </a:lnTo>
                    <a:lnTo>
                      <a:pt x="1494" y="2448"/>
                    </a:lnTo>
                    <a:lnTo>
                      <a:pt x="1494" y="2454"/>
                    </a:lnTo>
                    <a:lnTo>
                      <a:pt x="1488" y="2466"/>
                    </a:lnTo>
                    <a:lnTo>
                      <a:pt x="1488" y="2478"/>
                    </a:lnTo>
                    <a:lnTo>
                      <a:pt x="1494" y="2496"/>
                    </a:lnTo>
                    <a:lnTo>
                      <a:pt x="1506" y="2490"/>
                    </a:lnTo>
                    <a:lnTo>
                      <a:pt x="1512" y="2484"/>
                    </a:lnTo>
                    <a:lnTo>
                      <a:pt x="1530" y="2484"/>
                    </a:lnTo>
                    <a:lnTo>
                      <a:pt x="1536" y="2490"/>
                    </a:lnTo>
                    <a:lnTo>
                      <a:pt x="1548" y="2514"/>
                    </a:lnTo>
                    <a:lnTo>
                      <a:pt x="1548" y="2526"/>
                    </a:lnTo>
                    <a:lnTo>
                      <a:pt x="1554" y="2526"/>
                    </a:lnTo>
                    <a:lnTo>
                      <a:pt x="1560" y="2532"/>
                    </a:lnTo>
                    <a:lnTo>
                      <a:pt x="1560" y="2562"/>
                    </a:lnTo>
                    <a:lnTo>
                      <a:pt x="1566" y="2580"/>
                    </a:lnTo>
                    <a:lnTo>
                      <a:pt x="1566" y="2616"/>
                    </a:lnTo>
                    <a:lnTo>
                      <a:pt x="1512" y="2634"/>
                    </a:lnTo>
                    <a:lnTo>
                      <a:pt x="1506" y="2640"/>
                    </a:lnTo>
                    <a:lnTo>
                      <a:pt x="1500" y="2652"/>
                    </a:lnTo>
                    <a:lnTo>
                      <a:pt x="1500" y="2670"/>
                    </a:lnTo>
                    <a:lnTo>
                      <a:pt x="1464" y="2670"/>
                    </a:lnTo>
                    <a:lnTo>
                      <a:pt x="1464" y="2688"/>
                    </a:lnTo>
                    <a:lnTo>
                      <a:pt x="1458" y="2694"/>
                    </a:lnTo>
                    <a:lnTo>
                      <a:pt x="1452" y="2718"/>
                    </a:lnTo>
                    <a:lnTo>
                      <a:pt x="1428" y="2724"/>
                    </a:lnTo>
                    <a:lnTo>
                      <a:pt x="1428" y="2736"/>
                    </a:lnTo>
                    <a:lnTo>
                      <a:pt x="1422" y="2748"/>
                    </a:lnTo>
                    <a:lnTo>
                      <a:pt x="1422" y="2760"/>
                    </a:lnTo>
                    <a:lnTo>
                      <a:pt x="1404" y="2778"/>
                    </a:lnTo>
                    <a:lnTo>
                      <a:pt x="1392" y="2778"/>
                    </a:lnTo>
                    <a:lnTo>
                      <a:pt x="1392" y="2802"/>
                    </a:lnTo>
                    <a:lnTo>
                      <a:pt x="1386" y="2808"/>
                    </a:lnTo>
                    <a:lnTo>
                      <a:pt x="1380" y="2820"/>
                    </a:lnTo>
                    <a:lnTo>
                      <a:pt x="1374" y="2826"/>
                    </a:lnTo>
                    <a:lnTo>
                      <a:pt x="1356" y="2826"/>
                    </a:lnTo>
                    <a:lnTo>
                      <a:pt x="1350" y="2832"/>
                    </a:lnTo>
                    <a:lnTo>
                      <a:pt x="1350" y="2844"/>
                    </a:lnTo>
                    <a:lnTo>
                      <a:pt x="1344" y="2856"/>
                    </a:lnTo>
                    <a:lnTo>
                      <a:pt x="1344" y="2868"/>
                    </a:lnTo>
                    <a:lnTo>
                      <a:pt x="1368" y="2868"/>
                    </a:lnTo>
                    <a:lnTo>
                      <a:pt x="1374" y="2862"/>
                    </a:lnTo>
                    <a:lnTo>
                      <a:pt x="1386" y="2856"/>
                    </a:lnTo>
                    <a:lnTo>
                      <a:pt x="1398" y="2856"/>
                    </a:lnTo>
                    <a:lnTo>
                      <a:pt x="1404" y="2862"/>
                    </a:lnTo>
                    <a:lnTo>
                      <a:pt x="1428" y="2874"/>
                    </a:lnTo>
                    <a:lnTo>
                      <a:pt x="1434" y="2886"/>
                    </a:lnTo>
                    <a:lnTo>
                      <a:pt x="1446" y="2892"/>
                    </a:lnTo>
                    <a:lnTo>
                      <a:pt x="1452" y="2898"/>
                    </a:lnTo>
                    <a:lnTo>
                      <a:pt x="1458" y="2910"/>
                    </a:lnTo>
                    <a:lnTo>
                      <a:pt x="1470" y="2922"/>
                    </a:lnTo>
                    <a:lnTo>
                      <a:pt x="1470" y="2934"/>
                    </a:lnTo>
                    <a:lnTo>
                      <a:pt x="1482" y="2934"/>
                    </a:lnTo>
                    <a:lnTo>
                      <a:pt x="1482" y="2928"/>
                    </a:lnTo>
                    <a:lnTo>
                      <a:pt x="1494" y="2916"/>
                    </a:lnTo>
                    <a:lnTo>
                      <a:pt x="1500" y="2916"/>
                    </a:lnTo>
                    <a:lnTo>
                      <a:pt x="1512" y="2922"/>
                    </a:lnTo>
                    <a:lnTo>
                      <a:pt x="1518" y="2934"/>
                    </a:lnTo>
                    <a:lnTo>
                      <a:pt x="1536" y="2952"/>
                    </a:lnTo>
                    <a:lnTo>
                      <a:pt x="1554" y="2952"/>
                    </a:lnTo>
                    <a:lnTo>
                      <a:pt x="1572" y="2970"/>
                    </a:lnTo>
                    <a:lnTo>
                      <a:pt x="1578" y="2970"/>
                    </a:lnTo>
                    <a:lnTo>
                      <a:pt x="1578" y="2982"/>
                    </a:lnTo>
                    <a:lnTo>
                      <a:pt x="1584" y="2988"/>
                    </a:lnTo>
                    <a:lnTo>
                      <a:pt x="1596" y="2994"/>
                    </a:lnTo>
                    <a:lnTo>
                      <a:pt x="1614" y="3000"/>
                    </a:lnTo>
                    <a:lnTo>
                      <a:pt x="1626" y="3000"/>
                    </a:lnTo>
                    <a:lnTo>
                      <a:pt x="1632" y="3012"/>
                    </a:lnTo>
                    <a:lnTo>
                      <a:pt x="1638" y="3018"/>
                    </a:lnTo>
                    <a:lnTo>
                      <a:pt x="1644" y="3030"/>
                    </a:lnTo>
                    <a:lnTo>
                      <a:pt x="1662" y="3048"/>
                    </a:lnTo>
                    <a:lnTo>
                      <a:pt x="1668" y="3048"/>
                    </a:lnTo>
                    <a:lnTo>
                      <a:pt x="1680" y="3054"/>
                    </a:lnTo>
                    <a:lnTo>
                      <a:pt x="1686" y="3054"/>
                    </a:lnTo>
                    <a:lnTo>
                      <a:pt x="1686" y="3066"/>
                    </a:lnTo>
                    <a:lnTo>
                      <a:pt x="1674" y="3090"/>
                    </a:lnTo>
                    <a:lnTo>
                      <a:pt x="1668" y="3096"/>
                    </a:lnTo>
                    <a:lnTo>
                      <a:pt x="1668" y="3120"/>
                    </a:lnTo>
                    <a:lnTo>
                      <a:pt x="1674" y="3120"/>
                    </a:lnTo>
                    <a:lnTo>
                      <a:pt x="1674" y="3150"/>
                    </a:lnTo>
                    <a:lnTo>
                      <a:pt x="1692" y="3150"/>
                    </a:lnTo>
                    <a:lnTo>
                      <a:pt x="1692" y="3144"/>
                    </a:lnTo>
                    <a:lnTo>
                      <a:pt x="1698" y="3132"/>
                    </a:lnTo>
                    <a:lnTo>
                      <a:pt x="1710" y="3126"/>
                    </a:lnTo>
                    <a:lnTo>
                      <a:pt x="1716" y="3114"/>
                    </a:lnTo>
                    <a:lnTo>
                      <a:pt x="1728" y="3102"/>
                    </a:lnTo>
                    <a:lnTo>
                      <a:pt x="1734" y="3090"/>
                    </a:lnTo>
                    <a:lnTo>
                      <a:pt x="1734" y="3060"/>
                    </a:lnTo>
                    <a:lnTo>
                      <a:pt x="1728" y="3054"/>
                    </a:lnTo>
                    <a:lnTo>
                      <a:pt x="1728" y="3048"/>
                    </a:lnTo>
                    <a:lnTo>
                      <a:pt x="1746" y="3018"/>
                    </a:lnTo>
                    <a:lnTo>
                      <a:pt x="1734" y="3012"/>
                    </a:lnTo>
                    <a:lnTo>
                      <a:pt x="1728" y="3000"/>
                    </a:lnTo>
                    <a:lnTo>
                      <a:pt x="1728" y="2988"/>
                    </a:lnTo>
                    <a:lnTo>
                      <a:pt x="1740" y="2976"/>
                    </a:lnTo>
                    <a:lnTo>
                      <a:pt x="1746" y="2976"/>
                    </a:lnTo>
                    <a:lnTo>
                      <a:pt x="1746" y="2952"/>
                    </a:lnTo>
                    <a:lnTo>
                      <a:pt x="1764" y="2952"/>
                    </a:lnTo>
                    <a:lnTo>
                      <a:pt x="1776" y="2940"/>
                    </a:lnTo>
                    <a:lnTo>
                      <a:pt x="1776" y="2904"/>
                    </a:lnTo>
                    <a:lnTo>
                      <a:pt x="1782" y="2898"/>
                    </a:lnTo>
                    <a:lnTo>
                      <a:pt x="1788" y="2886"/>
                    </a:lnTo>
                    <a:lnTo>
                      <a:pt x="1800" y="2874"/>
                    </a:lnTo>
                    <a:lnTo>
                      <a:pt x="1812" y="2868"/>
                    </a:lnTo>
                    <a:lnTo>
                      <a:pt x="1818" y="2862"/>
                    </a:lnTo>
                    <a:lnTo>
                      <a:pt x="1824" y="2862"/>
                    </a:lnTo>
                    <a:lnTo>
                      <a:pt x="1824" y="2898"/>
                    </a:lnTo>
                    <a:lnTo>
                      <a:pt x="1818" y="2904"/>
                    </a:lnTo>
                    <a:lnTo>
                      <a:pt x="1818" y="2910"/>
                    </a:lnTo>
                    <a:lnTo>
                      <a:pt x="1812" y="2916"/>
                    </a:lnTo>
                    <a:lnTo>
                      <a:pt x="1812" y="2934"/>
                    </a:lnTo>
                    <a:lnTo>
                      <a:pt x="1800" y="2940"/>
                    </a:lnTo>
                    <a:lnTo>
                      <a:pt x="1800" y="2952"/>
                    </a:lnTo>
                    <a:lnTo>
                      <a:pt x="1776" y="2982"/>
                    </a:lnTo>
                    <a:lnTo>
                      <a:pt x="1746" y="3006"/>
                    </a:lnTo>
                    <a:lnTo>
                      <a:pt x="1752" y="3012"/>
                    </a:lnTo>
                    <a:lnTo>
                      <a:pt x="1770" y="3012"/>
                    </a:lnTo>
                    <a:lnTo>
                      <a:pt x="1770" y="2994"/>
                    </a:lnTo>
                    <a:lnTo>
                      <a:pt x="1776" y="2988"/>
                    </a:lnTo>
                    <a:lnTo>
                      <a:pt x="1788" y="2988"/>
                    </a:lnTo>
                    <a:lnTo>
                      <a:pt x="1794" y="2982"/>
                    </a:lnTo>
                    <a:lnTo>
                      <a:pt x="1800" y="2982"/>
                    </a:lnTo>
                    <a:lnTo>
                      <a:pt x="1812" y="2964"/>
                    </a:lnTo>
                    <a:lnTo>
                      <a:pt x="1824" y="2940"/>
                    </a:lnTo>
                    <a:lnTo>
                      <a:pt x="1848" y="2880"/>
                    </a:lnTo>
                    <a:lnTo>
                      <a:pt x="1860" y="2832"/>
                    </a:lnTo>
                    <a:lnTo>
                      <a:pt x="1872" y="2808"/>
                    </a:lnTo>
                    <a:lnTo>
                      <a:pt x="1878" y="2790"/>
                    </a:lnTo>
                    <a:lnTo>
                      <a:pt x="1884" y="2778"/>
                    </a:lnTo>
                    <a:lnTo>
                      <a:pt x="1896" y="2772"/>
                    </a:lnTo>
                    <a:lnTo>
                      <a:pt x="1902" y="2760"/>
                    </a:lnTo>
                    <a:lnTo>
                      <a:pt x="1926" y="2736"/>
                    </a:lnTo>
                    <a:lnTo>
                      <a:pt x="1926" y="2724"/>
                    </a:lnTo>
                    <a:lnTo>
                      <a:pt x="1920" y="2718"/>
                    </a:lnTo>
                    <a:lnTo>
                      <a:pt x="1938" y="2706"/>
                    </a:lnTo>
                    <a:lnTo>
                      <a:pt x="1932" y="2670"/>
                    </a:lnTo>
                    <a:lnTo>
                      <a:pt x="1938" y="2646"/>
                    </a:lnTo>
                    <a:lnTo>
                      <a:pt x="1926" y="2640"/>
                    </a:lnTo>
                    <a:lnTo>
                      <a:pt x="1932" y="2634"/>
                    </a:lnTo>
                    <a:lnTo>
                      <a:pt x="1938" y="2622"/>
                    </a:lnTo>
                    <a:lnTo>
                      <a:pt x="1938" y="2610"/>
                    </a:lnTo>
                    <a:lnTo>
                      <a:pt x="1932" y="2604"/>
                    </a:lnTo>
                    <a:lnTo>
                      <a:pt x="1920" y="2598"/>
                    </a:lnTo>
                    <a:lnTo>
                      <a:pt x="1914" y="2592"/>
                    </a:lnTo>
                    <a:lnTo>
                      <a:pt x="1914" y="2556"/>
                    </a:lnTo>
                    <a:lnTo>
                      <a:pt x="1896" y="2544"/>
                    </a:lnTo>
                    <a:lnTo>
                      <a:pt x="1920" y="2544"/>
                    </a:lnTo>
                    <a:lnTo>
                      <a:pt x="1914" y="2520"/>
                    </a:lnTo>
                    <a:lnTo>
                      <a:pt x="1902" y="2508"/>
                    </a:lnTo>
                    <a:lnTo>
                      <a:pt x="1908" y="2508"/>
                    </a:lnTo>
                    <a:lnTo>
                      <a:pt x="1920" y="2502"/>
                    </a:lnTo>
                    <a:lnTo>
                      <a:pt x="1920" y="2490"/>
                    </a:lnTo>
                    <a:lnTo>
                      <a:pt x="1914" y="2490"/>
                    </a:lnTo>
                    <a:lnTo>
                      <a:pt x="1902" y="2484"/>
                    </a:lnTo>
                    <a:lnTo>
                      <a:pt x="1896" y="2478"/>
                    </a:lnTo>
                    <a:lnTo>
                      <a:pt x="1920" y="2460"/>
                    </a:lnTo>
                    <a:lnTo>
                      <a:pt x="1932" y="2472"/>
                    </a:lnTo>
                    <a:lnTo>
                      <a:pt x="1944" y="2478"/>
                    </a:lnTo>
                    <a:lnTo>
                      <a:pt x="1950" y="2478"/>
                    </a:lnTo>
                    <a:lnTo>
                      <a:pt x="1950" y="2448"/>
                    </a:lnTo>
                    <a:lnTo>
                      <a:pt x="1962" y="2424"/>
                    </a:lnTo>
                    <a:lnTo>
                      <a:pt x="1974" y="2418"/>
                    </a:lnTo>
                    <a:lnTo>
                      <a:pt x="1980" y="2418"/>
                    </a:lnTo>
                    <a:lnTo>
                      <a:pt x="2004" y="2406"/>
                    </a:lnTo>
                    <a:lnTo>
                      <a:pt x="2010" y="2394"/>
                    </a:lnTo>
                    <a:lnTo>
                      <a:pt x="2010" y="2382"/>
                    </a:lnTo>
                    <a:lnTo>
                      <a:pt x="2016" y="2376"/>
                    </a:lnTo>
                    <a:lnTo>
                      <a:pt x="2028" y="2376"/>
                    </a:lnTo>
                    <a:lnTo>
                      <a:pt x="2034" y="2370"/>
                    </a:lnTo>
                    <a:lnTo>
                      <a:pt x="2046" y="2370"/>
                    </a:lnTo>
                    <a:lnTo>
                      <a:pt x="2046" y="2358"/>
                    </a:lnTo>
                    <a:lnTo>
                      <a:pt x="2070" y="2358"/>
                    </a:lnTo>
                    <a:lnTo>
                      <a:pt x="2070" y="2340"/>
                    </a:lnTo>
                    <a:lnTo>
                      <a:pt x="2118" y="2340"/>
                    </a:lnTo>
                    <a:lnTo>
                      <a:pt x="2124" y="2358"/>
                    </a:lnTo>
                    <a:lnTo>
                      <a:pt x="2136" y="2352"/>
                    </a:lnTo>
                    <a:lnTo>
                      <a:pt x="2118" y="2334"/>
                    </a:lnTo>
                    <a:lnTo>
                      <a:pt x="2136" y="2316"/>
                    </a:lnTo>
                    <a:lnTo>
                      <a:pt x="2142" y="2316"/>
                    </a:lnTo>
                    <a:lnTo>
                      <a:pt x="2154" y="2310"/>
                    </a:lnTo>
                    <a:lnTo>
                      <a:pt x="2178" y="2310"/>
                    </a:lnTo>
                    <a:lnTo>
                      <a:pt x="2160" y="2292"/>
                    </a:lnTo>
                    <a:lnTo>
                      <a:pt x="2172" y="2286"/>
                    </a:lnTo>
                    <a:lnTo>
                      <a:pt x="2178" y="2280"/>
                    </a:lnTo>
                    <a:lnTo>
                      <a:pt x="2190" y="2280"/>
                    </a:lnTo>
                    <a:lnTo>
                      <a:pt x="2190" y="2304"/>
                    </a:lnTo>
                    <a:lnTo>
                      <a:pt x="2196" y="2304"/>
                    </a:lnTo>
                    <a:lnTo>
                      <a:pt x="2196" y="2298"/>
                    </a:lnTo>
                    <a:lnTo>
                      <a:pt x="2202" y="2286"/>
                    </a:lnTo>
                    <a:lnTo>
                      <a:pt x="2208" y="2280"/>
                    </a:lnTo>
                    <a:lnTo>
                      <a:pt x="2244" y="2286"/>
                    </a:lnTo>
                    <a:lnTo>
                      <a:pt x="2244" y="2280"/>
                    </a:lnTo>
                    <a:lnTo>
                      <a:pt x="2250" y="2274"/>
                    </a:lnTo>
                    <a:lnTo>
                      <a:pt x="2250" y="2268"/>
                    </a:lnTo>
                    <a:lnTo>
                      <a:pt x="2256" y="2262"/>
                    </a:lnTo>
                    <a:lnTo>
                      <a:pt x="2268" y="2256"/>
                    </a:lnTo>
                    <a:lnTo>
                      <a:pt x="2274" y="2256"/>
                    </a:lnTo>
                    <a:lnTo>
                      <a:pt x="2280" y="2262"/>
                    </a:lnTo>
                    <a:lnTo>
                      <a:pt x="2280" y="2286"/>
                    </a:lnTo>
                    <a:lnTo>
                      <a:pt x="2346" y="2280"/>
                    </a:lnTo>
                    <a:lnTo>
                      <a:pt x="2352" y="2262"/>
                    </a:lnTo>
                    <a:lnTo>
                      <a:pt x="2346" y="2250"/>
                    </a:lnTo>
                    <a:lnTo>
                      <a:pt x="2352" y="2244"/>
                    </a:lnTo>
                    <a:lnTo>
                      <a:pt x="2358" y="2232"/>
                    </a:lnTo>
                    <a:lnTo>
                      <a:pt x="2370" y="2220"/>
                    </a:lnTo>
                    <a:lnTo>
                      <a:pt x="2406" y="2202"/>
                    </a:lnTo>
                    <a:lnTo>
                      <a:pt x="2418" y="2202"/>
                    </a:lnTo>
                    <a:lnTo>
                      <a:pt x="2412" y="2190"/>
                    </a:lnTo>
                    <a:lnTo>
                      <a:pt x="2412" y="2112"/>
                    </a:lnTo>
                    <a:lnTo>
                      <a:pt x="2442" y="2082"/>
                    </a:lnTo>
                    <a:lnTo>
                      <a:pt x="2442" y="2058"/>
                    </a:lnTo>
                    <a:lnTo>
                      <a:pt x="2460" y="2052"/>
                    </a:lnTo>
                    <a:lnTo>
                      <a:pt x="2460" y="2022"/>
                    </a:lnTo>
                    <a:lnTo>
                      <a:pt x="2466" y="2022"/>
                    </a:lnTo>
                    <a:lnTo>
                      <a:pt x="2472" y="2016"/>
                    </a:lnTo>
                    <a:lnTo>
                      <a:pt x="2478" y="2016"/>
                    </a:lnTo>
                    <a:lnTo>
                      <a:pt x="2478" y="2010"/>
                    </a:lnTo>
                    <a:lnTo>
                      <a:pt x="2484" y="2004"/>
                    </a:lnTo>
                    <a:lnTo>
                      <a:pt x="2484" y="1956"/>
                    </a:lnTo>
                    <a:lnTo>
                      <a:pt x="2478" y="1944"/>
                    </a:lnTo>
                    <a:lnTo>
                      <a:pt x="2478" y="1926"/>
                    </a:lnTo>
                    <a:lnTo>
                      <a:pt x="2472" y="1908"/>
                    </a:lnTo>
                    <a:lnTo>
                      <a:pt x="2484" y="1884"/>
                    </a:lnTo>
                    <a:lnTo>
                      <a:pt x="2514" y="1854"/>
                    </a:lnTo>
                    <a:lnTo>
                      <a:pt x="2514" y="1848"/>
                    </a:lnTo>
                    <a:lnTo>
                      <a:pt x="2508" y="1836"/>
                    </a:lnTo>
                    <a:lnTo>
                      <a:pt x="2508" y="1830"/>
                    </a:lnTo>
                    <a:lnTo>
                      <a:pt x="2502" y="1818"/>
                    </a:lnTo>
                    <a:lnTo>
                      <a:pt x="2508" y="1764"/>
                    </a:lnTo>
                    <a:lnTo>
                      <a:pt x="2508" y="1758"/>
                    </a:lnTo>
                    <a:lnTo>
                      <a:pt x="2514" y="1752"/>
                    </a:lnTo>
                    <a:lnTo>
                      <a:pt x="2514" y="1722"/>
                    </a:lnTo>
                    <a:lnTo>
                      <a:pt x="2520" y="1710"/>
                    </a:lnTo>
                    <a:lnTo>
                      <a:pt x="2520" y="1680"/>
                    </a:lnTo>
                    <a:lnTo>
                      <a:pt x="2508" y="1644"/>
                    </a:lnTo>
                    <a:lnTo>
                      <a:pt x="2502" y="1608"/>
                    </a:lnTo>
                    <a:lnTo>
                      <a:pt x="2502" y="1596"/>
                    </a:lnTo>
                    <a:lnTo>
                      <a:pt x="2508" y="1560"/>
                    </a:lnTo>
                    <a:lnTo>
                      <a:pt x="2508" y="1548"/>
                    </a:lnTo>
                    <a:lnTo>
                      <a:pt x="2502" y="1536"/>
                    </a:lnTo>
                    <a:lnTo>
                      <a:pt x="2502" y="1500"/>
                    </a:lnTo>
                    <a:lnTo>
                      <a:pt x="2508" y="1488"/>
                    </a:lnTo>
                    <a:lnTo>
                      <a:pt x="2520" y="1476"/>
                    </a:lnTo>
                    <a:lnTo>
                      <a:pt x="2508" y="1458"/>
                    </a:lnTo>
                    <a:lnTo>
                      <a:pt x="2520" y="1446"/>
                    </a:lnTo>
                    <a:lnTo>
                      <a:pt x="2532" y="1446"/>
                    </a:lnTo>
                    <a:lnTo>
                      <a:pt x="2532" y="1452"/>
                    </a:lnTo>
                    <a:lnTo>
                      <a:pt x="2538" y="1464"/>
                    </a:lnTo>
                    <a:lnTo>
                      <a:pt x="2544" y="1470"/>
                    </a:lnTo>
                    <a:lnTo>
                      <a:pt x="2556" y="1464"/>
                    </a:lnTo>
                    <a:lnTo>
                      <a:pt x="2562" y="1452"/>
                    </a:lnTo>
                    <a:lnTo>
                      <a:pt x="2574" y="1446"/>
                    </a:lnTo>
                    <a:lnTo>
                      <a:pt x="2580" y="1434"/>
                    </a:lnTo>
                    <a:lnTo>
                      <a:pt x="2586" y="1428"/>
                    </a:lnTo>
                    <a:lnTo>
                      <a:pt x="2592" y="1416"/>
                    </a:lnTo>
                    <a:lnTo>
                      <a:pt x="2592" y="1404"/>
                    </a:lnTo>
                    <a:lnTo>
                      <a:pt x="2598" y="1386"/>
                    </a:lnTo>
                    <a:lnTo>
                      <a:pt x="2598" y="1374"/>
                    </a:lnTo>
                    <a:lnTo>
                      <a:pt x="2604" y="1356"/>
                    </a:lnTo>
                    <a:lnTo>
                      <a:pt x="2604" y="1344"/>
                    </a:lnTo>
                    <a:lnTo>
                      <a:pt x="2610" y="1338"/>
                    </a:lnTo>
                    <a:lnTo>
                      <a:pt x="2616" y="1338"/>
                    </a:lnTo>
                    <a:lnTo>
                      <a:pt x="2628" y="1326"/>
                    </a:lnTo>
                    <a:lnTo>
                      <a:pt x="2634" y="1314"/>
                    </a:lnTo>
                    <a:lnTo>
                      <a:pt x="2640" y="1308"/>
                    </a:lnTo>
                    <a:lnTo>
                      <a:pt x="2640" y="1296"/>
                    </a:lnTo>
                    <a:lnTo>
                      <a:pt x="2652" y="1290"/>
                    </a:lnTo>
                    <a:lnTo>
                      <a:pt x="2658" y="1284"/>
                    </a:lnTo>
                    <a:lnTo>
                      <a:pt x="2670" y="1284"/>
                    </a:lnTo>
                    <a:lnTo>
                      <a:pt x="2682" y="1272"/>
                    </a:lnTo>
                    <a:lnTo>
                      <a:pt x="2682" y="1254"/>
                    </a:lnTo>
                    <a:lnTo>
                      <a:pt x="2688" y="1254"/>
                    </a:lnTo>
                    <a:lnTo>
                      <a:pt x="2724" y="1218"/>
                    </a:lnTo>
                    <a:lnTo>
                      <a:pt x="2736" y="1188"/>
                    </a:lnTo>
                    <a:lnTo>
                      <a:pt x="2754" y="1158"/>
                    </a:lnTo>
                    <a:lnTo>
                      <a:pt x="2760" y="1134"/>
                    </a:lnTo>
                    <a:lnTo>
                      <a:pt x="2766" y="1122"/>
                    </a:lnTo>
                    <a:lnTo>
                      <a:pt x="2772" y="1116"/>
                    </a:lnTo>
                    <a:lnTo>
                      <a:pt x="2778" y="1104"/>
                    </a:lnTo>
                    <a:lnTo>
                      <a:pt x="2784" y="1098"/>
                    </a:lnTo>
                    <a:lnTo>
                      <a:pt x="2784" y="1080"/>
                    </a:lnTo>
                    <a:lnTo>
                      <a:pt x="2778" y="1068"/>
                    </a:lnTo>
                    <a:lnTo>
                      <a:pt x="2778" y="100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" name="Boliv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FC1D9944-DD0D-4321-9D41-C748CB52534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69453" y="1225057"/>
                <a:ext cx="319704" cy="380532"/>
              </a:xfrm>
              <a:custGeom>
                <a:avLst/>
                <a:gdLst>
                  <a:gd name="T0" fmla="*/ 2147483647 w 894"/>
                  <a:gd name="T1" fmla="*/ 2147483647 h 1056"/>
                  <a:gd name="T2" fmla="*/ 2147483647 w 894"/>
                  <a:gd name="T3" fmla="*/ 2147483647 h 1056"/>
                  <a:gd name="T4" fmla="*/ 2147483647 w 894"/>
                  <a:gd name="T5" fmla="*/ 2147483647 h 1056"/>
                  <a:gd name="T6" fmla="*/ 2147483647 w 894"/>
                  <a:gd name="T7" fmla="*/ 2147483647 h 1056"/>
                  <a:gd name="T8" fmla="*/ 2147483647 w 894"/>
                  <a:gd name="T9" fmla="*/ 2147483647 h 1056"/>
                  <a:gd name="T10" fmla="*/ 2147483647 w 894"/>
                  <a:gd name="T11" fmla="*/ 2147483647 h 1056"/>
                  <a:gd name="T12" fmla="*/ 2147483647 w 894"/>
                  <a:gd name="T13" fmla="*/ 2147483647 h 1056"/>
                  <a:gd name="T14" fmla="*/ 2147483647 w 894"/>
                  <a:gd name="T15" fmla="*/ 2147483647 h 1056"/>
                  <a:gd name="T16" fmla="*/ 2147483647 w 894"/>
                  <a:gd name="T17" fmla="*/ 2147483647 h 1056"/>
                  <a:gd name="T18" fmla="*/ 2147483647 w 894"/>
                  <a:gd name="T19" fmla="*/ 2147483647 h 1056"/>
                  <a:gd name="T20" fmla="*/ 2147483647 w 894"/>
                  <a:gd name="T21" fmla="*/ 2147483647 h 1056"/>
                  <a:gd name="T22" fmla="*/ 2147483647 w 894"/>
                  <a:gd name="T23" fmla="*/ 2147483647 h 1056"/>
                  <a:gd name="T24" fmla="*/ 2147483647 w 894"/>
                  <a:gd name="T25" fmla="*/ 2147483647 h 1056"/>
                  <a:gd name="T26" fmla="*/ 2147483647 w 894"/>
                  <a:gd name="T27" fmla="*/ 2147483647 h 1056"/>
                  <a:gd name="T28" fmla="*/ 2147483647 w 894"/>
                  <a:gd name="T29" fmla="*/ 2147483647 h 1056"/>
                  <a:gd name="T30" fmla="*/ 2147483647 w 894"/>
                  <a:gd name="T31" fmla="*/ 2147483647 h 1056"/>
                  <a:gd name="T32" fmla="*/ 2147483647 w 894"/>
                  <a:gd name="T33" fmla="*/ 2147483647 h 1056"/>
                  <a:gd name="T34" fmla="*/ 2147483647 w 894"/>
                  <a:gd name="T35" fmla="*/ 2147483647 h 1056"/>
                  <a:gd name="T36" fmla="*/ 2147483647 w 894"/>
                  <a:gd name="T37" fmla="*/ 2147483647 h 1056"/>
                  <a:gd name="T38" fmla="*/ 2147483647 w 894"/>
                  <a:gd name="T39" fmla="*/ 2147483647 h 1056"/>
                  <a:gd name="T40" fmla="*/ 2147483647 w 894"/>
                  <a:gd name="T41" fmla="*/ 2147483647 h 1056"/>
                  <a:gd name="T42" fmla="*/ 2147483647 w 894"/>
                  <a:gd name="T43" fmla="*/ 2147483647 h 1056"/>
                  <a:gd name="T44" fmla="*/ 2147483647 w 894"/>
                  <a:gd name="T45" fmla="*/ 2147483647 h 1056"/>
                  <a:gd name="T46" fmla="*/ 2147483647 w 894"/>
                  <a:gd name="T47" fmla="*/ 2147483647 h 1056"/>
                  <a:gd name="T48" fmla="*/ 0 w 894"/>
                  <a:gd name="T49" fmla="*/ 2147483647 h 1056"/>
                  <a:gd name="T50" fmla="*/ 2147483647 w 894"/>
                  <a:gd name="T51" fmla="*/ 2147483647 h 1056"/>
                  <a:gd name="T52" fmla="*/ 2147483647 w 894"/>
                  <a:gd name="T53" fmla="*/ 2147483647 h 1056"/>
                  <a:gd name="T54" fmla="*/ 2147483647 w 894"/>
                  <a:gd name="T55" fmla="*/ 2147483647 h 1056"/>
                  <a:gd name="T56" fmla="*/ 2147483647 w 894"/>
                  <a:gd name="T57" fmla="*/ 2147483647 h 1056"/>
                  <a:gd name="T58" fmla="*/ 2147483647 w 894"/>
                  <a:gd name="T59" fmla="*/ 2147483647 h 1056"/>
                  <a:gd name="T60" fmla="*/ 2147483647 w 894"/>
                  <a:gd name="T61" fmla="*/ 2147483647 h 1056"/>
                  <a:gd name="T62" fmla="*/ 2147483647 w 894"/>
                  <a:gd name="T63" fmla="*/ 2147483647 h 1056"/>
                  <a:gd name="T64" fmla="*/ 2147483647 w 894"/>
                  <a:gd name="T65" fmla="*/ 2147483647 h 1056"/>
                  <a:gd name="T66" fmla="*/ 2147483647 w 894"/>
                  <a:gd name="T67" fmla="*/ 2147483647 h 1056"/>
                  <a:gd name="T68" fmla="*/ 2147483647 w 894"/>
                  <a:gd name="T69" fmla="*/ 2147483647 h 1056"/>
                  <a:gd name="T70" fmla="*/ 2147483647 w 894"/>
                  <a:gd name="T71" fmla="*/ 2147483647 h 1056"/>
                  <a:gd name="T72" fmla="*/ 2147483647 w 894"/>
                  <a:gd name="T73" fmla="*/ 2147483647 h 1056"/>
                  <a:gd name="T74" fmla="*/ 2147483647 w 894"/>
                  <a:gd name="T75" fmla="*/ 2147483647 h 1056"/>
                  <a:gd name="T76" fmla="*/ 2147483647 w 894"/>
                  <a:gd name="T77" fmla="*/ 2147483647 h 1056"/>
                  <a:gd name="T78" fmla="*/ 2147483647 w 894"/>
                  <a:gd name="T79" fmla="*/ 2147483647 h 1056"/>
                  <a:gd name="T80" fmla="*/ 2147483647 w 894"/>
                  <a:gd name="T81" fmla="*/ 2147483647 h 1056"/>
                  <a:gd name="T82" fmla="*/ 2147483647 w 894"/>
                  <a:gd name="T83" fmla="*/ 2147483647 h 1056"/>
                  <a:gd name="T84" fmla="*/ 2147483647 w 894"/>
                  <a:gd name="T85" fmla="*/ 2147483647 h 1056"/>
                  <a:gd name="T86" fmla="*/ 2147483647 w 894"/>
                  <a:gd name="T87" fmla="*/ 2147483647 h 1056"/>
                  <a:gd name="T88" fmla="*/ 2147483647 w 894"/>
                  <a:gd name="T89" fmla="*/ 2147483647 h 1056"/>
                  <a:gd name="T90" fmla="*/ 2147483647 w 894"/>
                  <a:gd name="T91" fmla="*/ 2147483647 h 1056"/>
                  <a:gd name="T92" fmla="*/ 2147483647 w 894"/>
                  <a:gd name="T93" fmla="*/ 2147483647 h 1056"/>
                  <a:gd name="T94" fmla="*/ 2147483647 w 894"/>
                  <a:gd name="T95" fmla="*/ 2147483647 h 1056"/>
                  <a:gd name="T96" fmla="*/ 2147483647 w 894"/>
                  <a:gd name="T97" fmla="*/ 2147483647 h 1056"/>
                  <a:gd name="T98" fmla="*/ 2147483647 w 894"/>
                  <a:gd name="T99" fmla="*/ 2147483647 h 1056"/>
                  <a:gd name="T100" fmla="*/ 2147483647 w 894"/>
                  <a:gd name="T101" fmla="*/ 2147483647 h 105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894"/>
                  <a:gd name="T154" fmla="*/ 0 h 1056"/>
                  <a:gd name="T155" fmla="*/ 894 w 894"/>
                  <a:gd name="T156" fmla="*/ 1056 h 105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894" h="1056">
                    <a:moveTo>
                      <a:pt x="882" y="744"/>
                    </a:moveTo>
                    <a:lnTo>
                      <a:pt x="882" y="738"/>
                    </a:lnTo>
                    <a:lnTo>
                      <a:pt x="888" y="732"/>
                    </a:lnTo>
                    <a:lnTo>
                      <a:pt x="888" y="708"/>
                    </a:lnTo>
                    <a:lnTo>
                      <a:pt x="894" y="696"/>
                    </a:lnTo>
                    <a:lnTo>
                      <a:pt x="894" y="684"/>
                    </a:lnTo>
                    <a:lnTo>
                      <a:pt x="882" y="648"/>
                    </a:lnTo>
                    <a:lnTo>
                      <a:pt x="876" y="636"/>
                    </a:lnTo>
                    <a:lnTo>
                      <a:pt x="864" y="624"/>
                    </a:lnTo>
                    <a:lnTo>
                      <a:pt x="840" y="612"/>
                    </a:lnTo>
                    <a:lnTo>
                      <a:pt x="834" y="606"/>
                    </a:lnTo>
                    <a:lnTo>
                      <a:pt x="822" y="600"/>
                    </a:lnTo>
                    <a:lnTo>
                      <a:pt x="816" y="588"/>
                    </a:lnTo>
                    <a:lnTo>
                      <a:pt x="816" y="576"/>
                    </a:lnTo>
                    <a:lnTo>
                      <a:pt x="822" y="558"/>
                    </a:lnTo>
                    <a:lnTo>
                      <a:pt x="822" y="546"/>
                    </a:lnTo>
                    <a:lnTo>
                      <a:pt x="828" y="540"/>
                    </a:lnTo>
                    <a:lnTo>
                      <a:pt x="828" y="534"/>
                    </a:lnTo>
                    <a:lnTo>
                      <a:pt x="768" y="534"/>
                    </a:lnTo>
                    <a:lnTo>
                      <a:pt x="720" y="528"/>
                    </a:lnTo>
                    <a:lnTo>
                      <a:pt x="690" y="522"/>
                    </a:lnTo>
                    <a:lnTo>
                      <a:pt x="684" y="516"/>
                    </a:lnTo>
                    <a:lnTo>
                      <a:pt x="684" y="474"/>
                    </a:lnTo>
                    <a:lnTo>
                      <a:pt x="690" y="462"/>
                    </a:lnTo>
                    <a:lnTo>
                      <a:pt x="684" y="456"/>
                    </a:lnTo>
                    <a:lnTo>
                      <a:pt x="672" y="450"/>
                    </a:lnTo>
                    <a:lnTo>
                      <a:pt x="666" y="438"/>
                    </a:lnTo>
                    <a:lnTo>
                      <a:pt x="660" y="432"/>
                    </a:lnTo>
                    <a:lnTo>
                      <a:pt x="660" y="426"/>
                    </a:lnTo>
                    <a:lnTo>
                      <a:pt x="678" y="426"/>
                    </a:lnTo>
                    <a:lnTo>
                      <a:pt x="678" y="396"/>
                    </a:lnTo>
                    <a:lnTo>
                      <a:pt x="672" y="384"/>
                    </a:lnTo>
                    <a:lnTo>
                      <a:pt x="666" y="378"/>
                    </a:lnTo>
                    <a:lnTo>
                      <a:pt x="660" y="366"/>
                    </a:lnTo>
                    <a:lnTo>
                      <a:pt x="660" y="336"/>
                    </a:lnTo>
                    <a:lnTo>
                      <a:pt x="654" y="330"/>
                    </a:lnTo>
                    <a:lnTo>
                      <a:pt x="648" y="318"/>
                    </a:lnTo>
                    <a:lnTo>
                      <a:pt x="624" y="306"/>
                    </a:lnTo>
                    <a:lnTo>
                      <a:pt x="564" y="306"/>
                    </a:lnTo>
                    <a:lnTo>
                      <a:pt x="558" y="300"/>
                    </a:lnTo>
                    <a:lnTo>
                      <a:pt x="546" y="294"/>
                    </a:lnTo>
                    <a:lnTo>
                      <a:pt x="534" y="282"/>
                    </a:lnTo>
                    <a:lnTo>
                      <a:pt x="534" y="276"/>
                    </a:lnTo>
                    <a:lnTo>
                      <a:pt x="510" y="276"/>
                    </a:lnTo>
                    <a:lnTo>
                      <a:pt x="498" y="270"/>
                    </a:lnTo>
                    <a:lnTo>
                      <a:pt x="486" y="258"/>
                    </a:lnTo>
                    <a:lnTo>
                      <a:pt x="474" y="252"/>
                    </a:lnTo>
                    <a:lnTo>
                      <a:pt x="468" y="240"/>
                    </a:lnTo>
                    <a:lnTo>
                      <a:pt x="468" y="234"/>
                    </a:lnTo>
                    <a:lnTo>
                      <a:pt x="456" y="234"/>
                    </a:lnTo>
                    <a:lnTo>
                      <a:pt x="450" y="240"/>
                    </a:lnTo>
                    <a:lnTo>
                      <a:pt x="438" y="240"/>
                    </a:lnTo>
                    <a:lnTo>
                      <a:pt x="426" y="234"/>
                    </a:lnTo>
                    <a:lnTo>
                      <a:pt x="420" y="222"/>
                    </a:lnTo>
                    <a:lnTo>
                      <a:pt x="414" y="228"/>
                    </a:lnTo>
                    <a:lnTo>
                      <a:pt x="384" y="228"/>
                    </a:lnTo>
                    <a:lnTo>
                      <a:pt x="372" y="222"/>
                    </a:lnTo>
                    <a:lnTo>
                      <a:pt x="366" y="216"/>
                    </a:lnTo>
                    <a:lnTo>
                      <a:pt x="366" y="210"/>
                    </a:lnTo>
                    <a:lnTo>
                      <a:pt x="360" y="198"/>
                    </a:lnTo>
                    <a:lnTo>
                      <a:pt x="360" y="192"/>
                    </a:lnTo>
                    <a:lnTo>
                      <a:pt x="354" y="186"/>
                    </a:lnTo>
                    <a:lnTo>
                      <a:pt x="330" y="186"/>
                    </a:lnTo>
                    <a:lnTo>
                      <a:pt x="324" y="156"/>
                    </a:lnTo>
                    <a:lnTo>
                      <a:pt x="318" y="150"/>
                    </a:lnTo>
                    <a:lnTo>
                      <a:pt x="306" y="144"/>
                    </a:lnTo>
                    <a:lnTo>
                      <a:pt x="294" y="132"/>
                    </a:lnTo>
                    <a:lnTo>
                      <a:pt x="294" y="120"/>
                    </a:lnTo>
                    <a:lnTo>
                      <a:pt x="300" y="114"/>
                    </a:lnTo>
                    <a:lnTo>
                      <a:pt x="300" y="96"/>
                    </a:lnTo>
                    <a:lnTo>
                      <a:pt x="294" y="84"/>
                    </a:lnTo>
                    <a:lnTo>
                      <a:pt x="288" y="78"/>
                    </a:lnTo>
                    <a:lnTo>
                      <a:pt x="288" y="48"/>
                    </a:lnTo>
                    <a:lnTo>
                      <a:pt x="294" y="42"/>
                    </a:lnTo>
                    <a:lnTo>
                      <a:pt x="294" y="36"/>
                    </a:lnTo>
                    <a:lnTo>
                      <a:pt x="300" y="30"/>
                    </a:lnTo>
                    <a:lnTo>
                      <a:pt x="300" y="0"/>
                    </a:lnTo>
                    <a:lnTo>
                      <a:pt x="288" y="0"/>
                    </a:lnTo>
                    <a:lnTo>
                      <a:pt x="276" y="6"/>
                    </a:lnTo>
                    <a:lnTo>
                      <a:pt x="276" y="12"/>
                    </a:lnTo>
                    <a:lnTo>
                      <a:pt x="270" y="12"/>
                    </a:lnTo>
                    <a:lnTo>
                      <a:pt x="258" y="0"/>
                    </a:lnTo>
                    <a:lnTo>
                      <a:pt x="246" y="12"/>
                    </a:lnTo>
                    <a:lnTo>
                      <a:pt x="210" y="12"/>
                    </a:lnTo>
                    <a:lnTo>
                      <a:pt x="198" y="18"/>
                    </a:lnTo>
                    <a:lnTo>
                      <a:pt x="192" y="24"/>
                    </a:lnTo>
                    <a:lnTo>
                      <a:pt x="186" y="36"/>
                    </a:lnTo>
                    <a:lnTo>
                      <a:pt x="180" y="42"/>
                    </a:lnTo>
                    <a:lnTo>
                      <a:pt x="180" y="48"/>
                    </a:lnTo>
                    <a:lnTo>
                      <a:pt x="144" y="48"/>
                    </a:lnTo>
                    <a:lnTo>
                      <a:pt x="138" y="78"/>
                    </a:lnTo>
                    <a:lnTo>
                      <a:pt x="102" y="78"/>
                    </a:lnTo>
                    <a:lnTo>
                      <a:pt x="90" y="96"/>
                    </a:lnTo>
                    <a:lnTo>
                      <a:pt x="84" y="102"/>
                    </a:lnTo>
                    <a:lnTo>
                      <a:pt x="60" y="114"/>
                    </a:lnTo>
                    <a:lnTo>
                      <a:pt x="42" y="114"/>
                    </a:lnTo>
                    <a:lnTo>
                      <a:pt x="42" y="108"/>
                    </a:lnTo>
                    <a:lnTo>
                      <a:pt x="36" y="102"/>
                    </a:lnTo>
                    <a:lnTo>
                      <a:pt x="12" y="102"/>
                    </a:lnTo>
                    <a:lnTo>
                      <a:pt x="0" y="96"/>
                    </a:lnTo>
                    <a:lnTo>
                      <a:pt x="0" y="114"/>
                    </a:lnTo>
                    <a:lnTo>
                      <a:pt x="6" y="132"/>
                    </a:lnTo>
                    <a:lnTo>
                      <a:pt x="18" y="144"/>
                    </a:lnTo>
                    <a:lnTo>
                      <a:pt x="30" y="162"/>
                    </a:lnTo>
                    <a:lnTo>
                      <a:pt x="42" y="174"/>
                    </a:lnTo>
                    <a:lnTo>
                      <a:pt x="54" y="192"/>
                    </a:lnTo>
                    <a:lnTo>
                      <a:pt x="66" y="216"/>
                    </a:lnTo>
                    <a:lnTo>
                      <a:pt x="66" y="228"/>
                    </a:lnTo>
                    <a:lnTo>
                      <a:pt x="60" y="234"/>
                    </a:lnTo>
                    <a:lnTo>
                      <a:pt x="54" y="246"/>
                    </a:lnTo>
                    <a:lnTo>
                      <a:pt x="48" y="252"/>
                    </a:lnTo>
                    <a:lnTo>
                      <a:pt x="60" y="300"/>
                    </a:lnTo>
                    <a:lnTo>
                      <a:pt x="42" y="330"/>
                    </a:lnTo>
                    <a:lnTo>
                      <a:pt x="48" y="330"/>
                    </a:lnTo>
                    <a:lnTo>
                      <a:pt x="60" y="342"/>
                    </a:lnTo>
                    <a:lnTo>
                      <a:pt x="66" y="354"/>
                    </a:lnTo>
                    <a:lnTo>
                      <a:pt x="66" y="360"/>
                    </a:lnTo>
                    <a:lnTo>
                      <a:pt x="60" y="372"/>
                    </a:lnTo>
                    <a:lnTo>
                      <a:pt x="48" y="384"/>
                    </a:lnTo>
                    <a:lnTo>
                      <a:pt x="36" y="408"/>
                    </a:lnTo>
                    <a:lnTo>
                      <a:pt x="42" y="426"/>
                    </a:lnTo>
                    <a:lnTo>
                      <a:pt x="48" y="438"/>
                    </a:lnTo>
                    <a:lnTo>
                      <a:pt x="54" y="444"/>
                    </a:lnTo>
                    <a:lnTo>
                      <a:pt x="54" y="450"/>
                    </a:lnTo>
                    <a:lnTo>
                      <a:pt x="42" y="468"/>
                    </a:lnTo>
                    <a:lnTo>
                      <a:pt x="54" y="480"/>
                    </a:lnTo>
                    <a:lnTo>
                      <a:pt x="78" y="498"/>
                    </a:lnTo>
                    <a:lnTo>
                      <a:pt x="78" y="516"/>
                    </a:lnTo>
                    <a:lnTo>
                      <a:pt x="102" y="528"/>
                    </a:lnTo>
                    <a:lnTo>
                      <a:pt x="90" y="558"/>
                    </a:lnTo>
                    <a:lnTo>
                      <a:pt x="78" y="546"/>
                    </a:lnTo>
                    <a:lnTo>
                      <a:pt x="78" y="558"/>
                    </a:lnTo>
                    <a:lnTo>
                      <a:pt x="66" y="582"/>
                    </a:lnTo>
                    <a:lnTo>
                      <a:pt x="54" y="588"/>
                    </a:lnTo>
                    <a:lnTo>
                      <a:pt x="36" y="606"/>
                    </a:lnTo>
                    <a:lnTo>
                      <a:pt x="48" y="630"/>
                    </a:lnTo>
                    <a:lnTo>
                      <a:pt x="42" y="636"/>
                    </a:lnTo>
                    <a:lnTo>
                      <a:pt x="60" y="666"/>
                    </a:lnTo>
                    <a:lnTo>
                      <a:pt x="84" y="666"/>
                    </a:lnTo>
                    <a:lnTo>
                      <a:pt x="96" y="744"/>
                    </a:lnTo>
                    <a:lnTo>
                      <a:pt x="108" y="750"/>
                    </a:lnTo>
                    <a:lnTo>
                      <a:pt x="114" y="750"/>
                    </a:lnTo>
                    <a:lnTo>
                      <a:pt x="138" y="762"/>
                    </a:lnTo>
                    <a:lnTo>
                      <a:pt x="144" y="774"/>
                    </a:lnTo>
                    <a:lnTo>
                      <a:pt x="144" y="780"/>
                    </a:lnTo>
                    <a:lnTo>
                      <a:pt x="138" y="792"/>
                    </a:lnTo>
                    <a:lnTo>
                      <a:pt x="126" y="804"/>
                    </a:lnTo>
                    <a:lnTo>
                      <a:pt x="144" y="822"/>
                    </a:lnTo>
                    <a:lnTo>
                      <a:pt x="138" y="828"/>
                    </a:lnTo>
                    <a:lnTo>
                      <a:pt x="132" y="840"/>
                    </a:lnTo>
                    <a:lnTo>
                      <a:pt x="126" y="846"/>
                    </a:lnTo>
                    <a:lnTo>
                      <a:pt x="126" y="858"/>
                    </a:lnTo>
                    <a:lnTo>
                      <a:pt x="132" y="870"/>
                    </a:lnTo>
                    <a:lnTo>
                      <a:pt x="138" y="876"/>
                    </a:lnTo>
                    <a:lnTo>
                      <a:pt x="138" y="900"/>
                    </a:lnTo>
                    <a:lnTo>
                      <a:pt x="144" y="900"/>
                    </a:lnTo>
                    <a:lnTo>
                      <a:pt x="150" y="906"/>
                    </a:lnTo>
                    <a:lnTo>
                      <a:pt x="162" y="912"/>
                    </a:lnTo>
                    <a:lnTo>
                      <a:pt x="168" y="918"/>
                    </a:lnTo>
                    <a:lnTo>
                      <a:pt x="180" y="924"/>
                    </a:lnTo>
                    <a:lnTo>
                      <a:pt x="186" y="930"/>
                    </a:lnTo>
                    <a:lnTo>
                      <a:pt x="186" y="996"/>
                    </a:lnTo>
                    <a:lnTo>
                      <a:pt x="210" y="1020"/>
                    </a:lnTo>
                    <a:lnTo>
                      <a:pt x="210" y="1044"/>
                    </a:lnTo>
                    <a:lnTo>
                      <a:pt x="216" y="1056"/>
                    </a:lnTo>
                    <a:lnTo>
                      <a:pt x="270" y="1056"/>
                    </a:lnTo>
                    <a:lnTo>
                      <a:pt x="270" y="1026"/>
                    </a:lnTo>
                    <a:lnTo>
                      <a:pt x="282" y="1026"/>
                    </a:lnTo>
                    <a:lnTo>
                      <a:pt x="282" y="1008"/>
                    </a:lnTo>
                    <a:lnTo>
                      <a:pt x="306" y="1002"/>
                    </a:lnTo>
                    <a:lnTo>
                      <a:pt x="318" y="978"/>
                    </a:lnTo>
                    <a:lnTo>
                      <a:pt x="324" y="984"/>
                    </a:lnTo>
                    <a:lnTo>
                      <a:pt x="348" y="996"/>
                    </a:lnTo>
                    <a:lnTo>
                      <a:pt x="360" y="996"/>
                    </a:lnTo>
                    <a:lnTo>
                      <a:pt x="378" y="1002"/>
                    </a:lnTo>
                    <a:lnTo>
                      <a:pt x="432" y="1002"/>
                    </a:lnTo>
                    <a:lnTo>
                      <a:pt x="462" y="1050"/>
                    </a:lnTo>
                    <a:lnTo>
                      <a:pt x="474" y="996"/>
                    </a:lnTo>
                    <a:lnTo>
                      <a:pt x="546" y="990"/>
                    </a:lnTo>
                    <a:lnTo>
                      <a:pt x="582" y="1014"/>
                    </a:lnTo>
                    <a:lnTo>
                      <a:pt x="582" y="996"/>
                    </a:lnTo>
                    <a:lnTo>
                      <a:pt x="594" y="924"/>
                    </a:lnTo>
                    <a:lnTo>
                      <a:pt x="594" y="900"/>
                    </a:lnTo>
                    <a:lnTo>
                      <a:pt x="588" y="894"/>
                    </a:lnTo>
                    <a:lnTo>
                      <a:pt x="588" y="888"/>
                    </a:lnTo>
                    <a:lnTo>
                      <a:pt x="576" y="864"/>
                    </a:lnTo>
                    <a:lnTo>
                      <a:pt x="576" y="852"/>
                    </a:lnTo>
                    <a:lnTo>
                      <a:pt x="582" y="846"/>
                    </a:lnTo>
                    <a:lnTo>
                      <a:pt x="594" y="840"/>
                    </a:lnTo>
                    <a:lnTo>
                      <a:pt x="606" y="828"/>
                    </a:lnTo>
                    <a:lnTo>
                      <a:pt x="612" y="798"/>
                    </a:lnTo>
                    <a:lnTo>
                      <a:pt x="714" y="780"/>
                    </a:lnTo>
                    <a:lnTo>
                      <a:pt x="792" y="768"/>
                    </a:lnTo>
                    <a:lnTo>
                      <a:pt x="846" y="810"/>
                    </a:lnTo>
                    <a:lnTo>
                      <a:pt x="864" y="846"/>
                    </a:lnTo>
                    <a:lnTo>
                      <a:pt x="864" y="840"/>
                    </a:lnTo>
                    <a:lnTo>
                      <a:pt x="870" y="834"/>
                    </a:lnTo>
                    <a:lnTo>
                      <a:pt x="882" y="828"/>
                    </a:lnTo>
                    <a:lnTo>
                      <a:pt x="888" y="822"/>
                    </a:lnTo>
                    <a:lnTo>
                      <a:pt x="876" y="816"/>
                    </a:lnTo>
                    <a:lnTo>
                      <a:pt x="870" y="810"/>
                    </a:lnTo>
                    <a:lnTo>
                      <a:pt x="870" y="786"/>
                    </a:lnTo>
                    <a:lnTo>
                      <a:pt x="876" y="774"/>
                    </a:lnTo>
                    <a:lnTo>
                      <a:pt x="882" y="768"/>
                    </a:lnTo>
                    <a:lnTo>
                      <a:pt x="888" y="756"/>
                    </a:lnTo>
                    <a:lnTo>
                      <a:pt x="882" y="744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" name="Argentin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2FCF7F4E-6CC4-4FF9-A9A1-A7649DDC595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121793" y="1577297"/>
                <a:ext cx="391850" cy="875648"/>
              </a:xfrm>
              <a:custGeom>
                <a:avLst/>
                <a:gdLst>
                  <a:gd name="T0" fmla="*/ 2147483647 w 1092"/>
                  <a:gd name="T1" fmla="*/ 2147483647 h 2442"/>
                  <a:gd name="T2" fmla="*/ 2147483647 w 1092"/>
                  <a:gd name="T3" fmla="*/ 2147483647 h 2442"/>
                  <a:gd name="T4" fmla="*/ 2147483647 w 1092"/>
                  <a:gd name="T5" fmla="*/ 2147483647 h 2442"/>
                  <a:gd name="T6" fmla="*/ 2147483647 w 1092"/>
                  <a:gd name="T7" fmla="*/ 2147483647 h 2442"/>
                  <a:gd name="T8" fmla="*/ 2147483647 w 1092"/>
                  <a:gd name="T9" fmla="*/ 2147483647 h 2442"/>
                  <a:gd name="T10" fmla="*/ 2147483647 w 1092"/>
                  <a:gd name="T11" fmla="*/ 2147483647 h 2442"/>
                  <a:gd name="T12" fmla="*/ 2147483647 w 1092"/>
                  <a:gd name="T13" fmla="*/ 2147483647 h 2442"/>
                  <a:gd name="T14" fmla="*/ 2147483647 w 1092"/>
                  <a:gd name="T15" fmla="*/ 2147483647 h 2442"/>
                  <a:gd name="T16" fmla="*/ 2147483647 w 1092"/>
                  <a:gd name="T17" fmla="*/ 2147483647 h 2442"/>
                  <a:gd name="T18" fmla="*/ 2147483647 w 1092"/>
                  <a:gd name="T19" fmla="*/ 2147483647 h 2442"/>
                  <a:gd name="T20" fmla="*/ 2147483647 w 1092"/>
                  <a:gd name="T21" fmla="*/ 0 h 2442"/>
                  <a:gd name="T22" fmla="*/ 2147483647 w 1092"/>
                  <a:gd name="T23" fmla="*/ 2147483647 h 2442"/>
                  <a:gd name="T24" fmla="*/ 2147483647 w 1092"/>
                  <a:gd name="T25" fmla="*/ 2147483647 h 2442"/>
                  <a:gd name="T26" fmla="*/ 2147483647 w 1092"/>
                  <a:gd name="T27" fmla="*/ 2147483647 h 2442"/>
                  <a:gd name="T28" fmla="*/ 2147483647 w 1092"/>
                  <a:gd name="T29" fmla="*/ 2147483647 h 2442"/>
                  <a:gd name="T30" fmla="*/ 2147483647 w 1092"/>
                  <a:gd name="T31" fmla="*/ 2147483647 h 2442"/>
                  <a:gd name="T32" fmla="*/ 2147483647 w 1092"/>
                  <a:gd name="T33" fmla="*/ 2147483647 h 2442"/>
                  <a:gd name="T34" fmla="*/ 2147483647 w 1092"/>
                  <a:gd name="T35" fmla="*/ 2147483647 h 2442"/>
                  <a:gd name="T36" fmla="*/ 2147483647 w 1092"/>
                  <a:gd name="T37" fmla="*/ 2147483647 h 2442"/>
                  <a:gd name="T38" fmla="*/ 2147483647 w 1092"/>
                  <a:gd name="T39" fmla="*/ 2147483647 h 2442"/>
                  <a:gd name="T40" fmla="*/ 2147483647 w 1092"/>
                  <a:gd name="T41" fmla="*/ 2147483647 h 2442"/>
                  <a:gd name="T42" fmla="*/ 2147483647 w 1092"/>
                  <a:gd name="T43" fmla="*/ 2147483647 h 2442"/>
                  <a:gd name="T44" fmla="*/ 2147483647 w 1092"/>
                  <a:gd name="T45" fmla="*/ 2147483647 h 2442"/>
                  <a:gd name="T46" fmla="*/ 2147483647 w 1092"/>
                  <a:gd name="T47" fmla="*/ 2147483647 h 2442"/>
                  <a:gd name="T48" fmla="*/ 2147483647 w 1092"/>
                  <a:gd name="T49" fmla="*/ 2147483647 h 2442"/>
                  <a:gd name="T50" fmla="*/ 2147483647 w 1092"/>
                  <a:gd name="T51" fmla="*/ 2147483647 h 2442"/>
                  <a:gd name="T52" fmla="*/ 2147483647 w 1092"/>
                  <a:gd name="T53" fmla="*/ 2147483647 h 2442"/>
                  <a:gd name="T54" fmla="*/ 2147483647 w 1092"/>
                  <a:gd name="T55" fmla="*/ 2147483647 h 2442"/>
                  <a:gd name="T56" fmla="*/ 2147483647 w 1092"/>
                  <a:gd name="T57" fmla="*/ 2147483647 h 2442"/>
                  <a:gd name="T58" fmla="*/ 2147483647 w 1092"/>
                  <a:gd name="T59" fmla="*/ 2147483647 h 2442"/>
                  <a:gd name="T60" fmla="*/ 2147483647 w 1092"/>
                  <a:gd name="T61" fmla="*/ 2147483647 h 2442"/>
                  <a:gd name="T62" fmla="*/ 2147483647 w 1092"/>
                  <a:gd name="T63" fmla="*/ 2147483647 h 2442"/>
                  <a:gd name="T64" fmla="*/ 2147483647 w 1092"/>
                  <a:gd name="T65" fmla="*/ 2147483647 h 2442"/>
                  <a:gd name="T66" fmla="*/ 2147483647 w 1092"/>
                  <a:gd name="T67" fmla="*/ 2147483647 h 2442"/>
                  <a:gd name="T68" fmla="*/ 2147483647 w 1092"/>
                  <a:gd name="T69" fmla="*/ 2147483647 h 2442"/>
                  <a:gd name="T70" fmla="*/ 2147483647 w 1092"/>
                  <a:gd name="T71" fmla="*/ 2147483647 h 2442"/>
                  <a:gd name="T72" fmla="*/ 2147483647 w 1092"/>
                  <a:gd name="T73" fmla="*/ 2147483647 h 2442"/>
                  <a:gd name="T74" fmla="*/ 2147483647 w 1092"/>
                  <a:gd name="T75" fmla="*/ 2147483647 h 2442"/>
                  <a:gd name="T76" fmla="*/ 2147483647 w 1092"/>
                  <a:gd name="T77" fmla="*/ 2147483647 h 2442"/>
                  <a:gd name="T78" fmla="*/ 2147483647 w 1092"/>
                  <a:gd name="T79" fmla="*/ 2147483647 h 2442"/>
                  <a:gd name="T80" fmla="*/ 2147483647 w 1092"/>
                  <a:gd name="T81" fmla="*/ 2147483647 h 2442"/>
                  <a:gd name="T82" fmla="*/ 2147483647 w 1092"/>
                  <a:gd name="T83" fmla="*/ 2147483647 h 2442"/>
                  <a:gd name="T84" fmla="*/ 2147483647 w 1092"/>
                  <a:gd name="T85" fmla="*/ 2147483647 h 2442"/>
                  <a:gd name="T86" fmla="*/ 2147483647 w 1092"/>
                  <a:gd name="T87" fmla="*/ 2147483647 h 2442"/>
                  <a:gd name="T88" fmla="*/ 2147483647 w 1092"/>
                  <a:gd name="T89" fmla="*/ 2147483647 h 2442"/>
                  <a:gd name="T90" fmla="*/ 2147483647 w 1092"/>
                  <a:gd name="T91" fmla="*/ 2147483647 h 2442"/>
                  <a:gd name="T92" fmla="*/ 2147483647 w 1092"/>
                  <a:gd name="T93" fmla="*/ 2147483647 h 2442"/>
                  <a:gd name="T94" fmla="*/ 2147483647 w 1092"/>
                  <a:gd name="T95" fmla="*/ 2147483647 h 2442"/>
                  <a:gd name="T96" fmla="*/ 2147483647 w 1092"/>
                  <a:gd name="T97" fmla="*/ 2147483647 h 2442"/>
                  <a:gd name="T98" fmla="*/ 2147483647 w 1092"/>
                  <a:gd name="T99" fmla="*/ 2147483647 h 2442"/>
                  <a:gd name="T100" fmla="*/ 2147483647 w 1092"/>
                  <a:gd name="T101" fmla="*/ 2147483647 h 2442"/>
                  <a:gd name="T102" fmla="*/ 2147483647 w 1092"/>
                  <a:gd name="T103" fmla="*/ 2147483647 h 2442"/>
                  <a:gd name="T104" fmla="*/ 2147483647 w 1092"/>
                  <a:gd name="T105" fmla="*/ 2147483647 h 2442"/>
                  <a:gd name="T106" fmla="*/ 2147483647 w 1092"/>
                  <a:gd name="T107" fmla="*/ 2147483647 h 2442"/>
                  <a:gd name="T108" fmla="*/ 2147483647 w 1092"/>
                  <a:gd name="T109" fmla="*/ 2147483647 h 2442"/>
                  <a:gd name="T110" fmla="*/ 2147483647 w 1092"/>
                  <a:gd name="T111" fmla="*/ 2147483647 h 2442"/>
                  <a:gd name="T112" fmla="*/ 2147483647 w 1092"/>
                  <a:gd name="T113" fmla="*/ 2147483647 h 244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092"/>
                  <a:gd name="T172" fmla="*/ 0 h 2442"/>
                  <a:gd name="T173" fmla="*/ 1092 w 1092"/>
                  <a:gd name="T174" fmla="*/ 2442 h 244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092" h="2442">
                    <a:moveTo>
                      <a:pt x="954" y="534"/>
                    </a:moveTo>
                    <a:lnTo>
                      <a:pt x="978" y="528"/>
                    </a:lnTo>
                    <a:lnTo>
                      <a:pt x="984" y="504"/>
                    </a:lnTo>
                    <a:lnTo>
                      <a:pt x="990" y="498"/>
                    </a:lnTo>
                    <a:lnTo>
                      <a:pt x="990" y="480"/>
                    </a:lnTo>
                    <a:lnTo>
                      <a:pt x="1026" y="480"/>
                    </a:lnTo>
                    <a:lnTo>
                      <a:pt x="1026" y="462"/>
                    </a:lnTo>
                    <a:lnTo>
                      <a:pt x="1032" y="450"/>
                    </a:lnTo>
                    <a:lnTo>
                      <a:pt x="1038" y="444"/>
                    </a:lnTo>
                    <a:lnTo>
                      <a:pt x="1092" y="426"/>
                    </a:lnTo>
                    <a:lnTo>
                      <a:pt x="1092" y="390"/>
                    </a:lnTo>
                    <a:lnTo>
                      <a:pt x="1086" y="372"/>
                    </a:lnTo>
                    <a:lnTo>
                      <a:pt x="1086" y="342"/>
                    </a:lnTo>
                    <a:lnTo>
                      <a:pt x="1080" y="336"/>
                    </a:lnTo>
                    <a:lnTo>
                      <a:pt x="1074" y="336"/>
                    </a:lnTo>
                    <a:lnTo>
                      <a:pt x="1074" y="324"/>
                    </a:lnTo>
                    <a:lnTo>
                      <a:pt x="1062" y="300"/>
                    </a:lnTo>
                    <a:lnTo>
                      <a:pt x="1056" y="294"/>
                    </a:lnTo>
                    <a:lnTo>
                      <a:pt x="1038" y="294"/>
                    </a:lnTo>
                    <a:lnTo>
                      <a:pt x="1032" y="300"/>
                    </a:lnTo>
                    <a:lnTo>
                      <a:pt x="1020" y="306"/>
                    </a:lnTo>
                    <a:lnTo>
                      <a:pt x="1020" y="384"/>
                    </a:lnTo>
                    <a:lnTo>
                      <a:pt x="1008" y="390"/>
                    </a:lnTo>
                    <a:lnTo>
                      <a:pt x="1002" y="402"/>
                    </a:lnTo>
                    <a:lnTo>
                      <a:pt x="990" y="408"/>
                    </a:lnTo>
                    <a:lnTo>
                      <a:pt x="984" y="414"/>
                    </a:lnTo>
                    <a:lnTo>
                      <a:pt x="978" y="414"/>
                    </a:lnTo>
                    <a:lnTo>
                      <a:pt x="966" y="426"/>
                    </a:lnTo>
                    <a:lnTo>
                      <a:pt x="954" y="450"/>
                    </a:lnTo>
                    <a:lnTo>
                      <a:pt x="948" y="456"/>
                    </a:lnTo>
                    <a:lnTo>
                      <a:pt x="948" y="450"/>
                    </a:lnTo>
                    <a:lnTo>
                      <a:pt x="942" y="444"/>
                    </a:lnTo>
                    <a:lnTo>
                      <a:pt x="930" y="444"/>
                    </a:lnTo>
                    <a:lnTo>
                      <a:pt x="924" y="450"/>
                    </a:lnTo>
                    <a:lnTo>
                      <a:pt x="924" y="468"/>
                    </a:lnTo>
                    <a:lnTo>
                      <a:pt x="912" y="450"/>
                    </a:lnTo>
                    <a:lnTo>
                      <a:pt x="852" y="450"/>
                    </a:lnTo>
                    <a:lnTo>
                      <a:pt x="834" y="444"/>
                    </a:lnTo>
                    <a:lnTo>
                      <a:pt x="822" y="438"/>
                    </a:lnTo>
                    <a:lnTo>
                      <a:pt x="816" y="432"/>
                    </a:lnTo>
                    <a:lnTo>
                      <a:pt x="804" y="426"/>
                    </a:lnTo>
                    <a:lnTo>
                      <a:pt x="798" y="426"/>
                    </a:lnTo>
                    <a:lnTo>
                      <a:pt x="786" y="432"/>
                    </a:lnTo>
                    <a:lnTo>
                      <a:pt x="762" y="432"/>
                    </a:lnTo>
                    <a:lnTo>
                      <a:pt x="756" y="426"/>
                    </a:lnTo>
                    <a:lnTo>
                      <a:pt x="756" y="414"/>
                    </a:lnTo>
                    <a:lnTo>
                      <a:pt x="762" y="402"/>
                    </a:lnTo>
                    <a:lnTo>
                      <a:pt x="768" y="396"/>
                    </a:lnTo>
                    <a:lnTo>
                      <a:pt x="774" y="384"/>
                    </a:lnTo>
                    <a:lnTo>
                      <a:pt x="780" y="378"/>
                    </a:lnTo>
                    <a:lnTo>
                      <a:pt x="780" y="342"/>
                    </a:lnTo>
                    <a:lnTo>
                      <a:pt x="798" y="342"/>
                    </a:lnTo>
                    <a:lnTo>
                      <a:pt x="804" y="336"/>
                    </a:lnTo>
                    <a:lnTo>
                      <a:pt x="804" y="330"/>
                    </a:lnTo>
                    <a:lnTo>
                      <a:pt x="798" y="318"/>
                    </a:lnTo>
                    <a:lnTo>
                      <a:pt x="792" y="312"/>
                    </a:lnTo>
                    <a:lnTo>
                      <a:pt x="798" y="300"/>
                    </a:lnTo>
                    <a:lnTo>
                      <a:pt x="804" y="294"/>
                    </a:lnTo>
                    <a:lnTo>
                      <a:pt x="804" y="282"/>
                    </a:lnTo>
                    <a:lnTo>
                      <a:pt x="810" y="276"/>
                    </a:lnTo>
                    <a:lnTo>
                      <a:pt x="804" y="270"/>
                    </a:lnTo>
                    <a:lnTo>
                      <a:pt x="792" y="264"/>
                    </a:lnTo>
                    <a:lnTo>
                      <a:pt x="774" y="258"/>
                    </a:lnTo>
                    <a:lnTo>
                      <a:pt x="762" y="252"/>
                    </a:lnTo>
                    <a:lnTo>
                      <a:pt x="750" y="252"/>
                    </a:lnTo>
                    <a:lnTo>
                      <a:pt x="744" y="246"/>
                    </a:lnTo>
                    <a:lnTo>
                      <a:pt x="708" y="228"/>
                    </a:lnTo>
                    <a:lnTo>
                      <a:pt x="690" y="216"/>
                    </a:lnTo>
                    <a:lnTo>
                      <a:pt x="678" y="210"/>
                    </a:lnTo>
                    <a:lnTo>
                      <a:pt x="672" y="204"/>
                    </a:lnTo>
                    <a:lnTo>
                      <a:pt x="666" y="204"/>
                    </a:lnTo>
                    <a:lnTo>
                      <a:pt x="660" y="198"/>
                    </a:lnTo>
                    <a:lnTo>
                      <a:pt x="648" y="192"/>
                    </a:lnTo>
                    <a:lnTo>
                      <a:pt x="642" y="186"/>
                    </a:lnTo>
                    <a:lnTo>
                      <a:pt x="630" y="180"/>
                    </a:lnTo>
                    <a:lnTo>
                      <a:pt x="600" y="180"/>
                    </a:lnTo>
                    <a:lnTo>
                      <a:pt x="564" y="162"/>
                    </a:lnTo>
                    <a:lnTo>
                      <a:pt x="558" y="156"/>
                    </a:lnTo>
                    <a:lnTo>
                      <a:pt x="552" y="156"/>
                    </a:lnTo>
                    <a:lnTo>
                      <a:pt x="546" y="138"/>
                    </a:lnTo>
                    <a:lnTo>
                      <a:pt x="534" y="132"/>
                    </a:lnTo>
                    <a:lnTo>
                      <a:pt x="516" y="114"/>
                    </a:lnTo>
                    <a:lnTo>
                      <a:pt x="492" y="102"/>
                    </a:lnTo>
                    <a:lnTo>
                      <a:pt x="486" y="96"/>
                    </a:lnTo>
                    <a:lnTo>
                      <a:pt x="480" y="84"/>
                    </a:lnTo>
                    <a:lnTo>
                      <a:pt x="468" y="78"/>
                    </a:lnTo>
                    <a:lnTo>
                      <a:pt x="462" y="66"/>
                    </a:lnTo>
                    <a:lnTo>
                      <a:pt x="456" y="60"/>
                    </a:lnTo>
                    <a:lnTo>
                      <a:pt x="456" y="54"/>
                    </a:lnTo>
                    <a:lnTo>
                      <a:pt x="438" y="36"/>
                    </a:lnTo>
                    <a:lnTo>
                      <a:pt x="402" y="12"/>
                    </a:lnTo>
                    <a:lnTo>
                      <a:pt x="330" y="18"/>
                    </a:lnTo>
                    <a:lnTo>
                      <a:pt x="318" y="72"/>
                    </a:lnTo>
                    <a:lnTo>
                      <a:pt x="288" y="24"/>
                    </a:lnTo>
                    <a:lnTo>
                      <a:pt x="234" y="24"/>
                    </a:lnTo>
                    <a:lnTo>
                      <a:pt x="216" y="18"/>
                    </a:lnTo>
                    <a:lnTo>
                      <a:pt x="204" y="18"/>
                    </a:lnTo>
                    <a:lnTo>
                      <a:pt x="180" y="6"/>
                    </a:lnTo>
                    <a:lnTo>
                      <a:pt x="174" y="0"/>
                    </a:lnTo>
                    <a:lnTo>
                      <a:pt x="162" y="24"/>
                    </a:lnTo>
                    <a:lnTo>
                      <a:pt x="138" y="30"/>
                    </a:lnTo>
                    <a:lnTo>
                      <a:pt x="138" y="48"/>
                    </a:lnTo>
                    <a:lnTo>
                      <a:pt x="126" y="48"/>
                    </a:lnTo>
                    <a:lnTo>
                      <a:pt x="126" y="78"/>
                    </a:lnTo>
                    <a:lnTo>
                      <a:pt x="114" y="78"/>
                    </a:lnTo>
                    <a:lnTo>
                      <a:pt x="126" y="96"/>
                    </a:lnTo>
                    <a:lnTo>
                      <a:pt x="114" y="180"/>
                    </a:lnTo>
                    <a:lnTo>
                      <a:pt x="108" y="180"/>
                    </a:lnTo>
                    <a:lnTo>
                      <a:pt x="102" y="186"/>
                    </a:lnTo>
                    <a:lnTo>
                      <a:pt x="90" y="192"/>
                    </a:lnTo>
                    <a:lnTo>
                      <a:pt x="72" y="198"/>
                    </a:lnTo>
                    <a:lnTo>
                      <a:pt x="60" y="210"/>
                    </a:lnTo>
                    <a:lnTo>
                      <a:pt x="48" y="216"/>
                    </a:lnTo>
                    <a:lnTo>
                      <a:pt x="42" y="228"/>
                    </a:lnTo>
                    <a:lnTo>
                      <a:pt x="36" y="234"/>
                    </a:lnTo>
                    <a:lnTo>
                      <a:pt x="36" y="240"/>
                    </a:lnTo>
                    <a:lnTo>
                      <a:pt x="42" y="246"/>
                    </a:lnTo>
                    <a:lnTo>
                      <a:pt x="54" y="252"/>
                    </a:lnTo>
                    <a:lnTo>
                      <a:pt x="66" y="252"/>
                    </a:lnTo>
                    <a:lnTo>
                      <a:pt x="66" y="258"/>
                    </a:lnTo>
                    <a:lnTo>
                      <a:pt x="42" y="282"/>
                    </a:lnTo>
                    <a:lnTo>
                      <a:pt x="42" y="300"/>
                    </a:lnTo>
                    <a:lnTo>
                      <a:pt x="48" y="306"/>
                    </a:lnTo>
                    <a:lnTo>
                      <a:pt x="60" y="312"/>
                    </a:lnTo>
                    <a:lnTo>
                      <a:pt x="72" y="324"/>
                    </a:lnTo>
                    <a:lnTo>
                      <a:pt x="78" y="336"/>
                    </a:lnTo>
                    <a:lnTo>
                      <a:pt x="72" y="342"/>
                    </a:lnTo>
                    <a:lnTo>
                      <a:pt x="66" y="354"/>
                    </a:lnTo>
                    <a:lnTo>
                      <a:pt x="54" y="366"/>
                    </a:lnTo>
                    <a:lnTo>
                      <a:pt x="48" y="366"/>
                    </a:lnTo>
                    <a:lnTo>
                      <a:pt x="54" y="366"/>
                    </a:lnTo>
                    <a:lnTo>
                      <a:pt x="60" y="372"/>
                    </a:lnTo>
                    <a:lnTo>
                      <a:pt x="84" y="384"/>
                    </a:lnTo>
                    <a:lnTo>
                      <a:pt x="90" y="396"/>
                    </a:lnTo>
                    <a:lnTo>
                      <a:pt x="90" y="408"/>
                    </a:lnTo>
                    <a:lnTo>
                      <a:pt x="78" y="414"/>
                    </a:lnTo>
                    <a:lnTo>
                      <a:pt x="72" y="420"/>
                    </a:lnTo>
                    <a:lnTo>
                      <a:pt x="54" y="420"/>
                    </a:lnTo>
                    <a:lnTo>
                      <a:pt x="54" y="432"/>
                    </a:lnTo>
                    <a:lnTo>
                      <a:pt x="48" y="450"/>
                    </a:lnTo>
                    <a:lnTo>
                      <a:pt x="48" y="462"/>
                    </a:lnTo>
                    <a:lnTo>
                      <a:pt x="42" y="474"/>
                    </a:lnTo>
                    <a:lnTo>
                      <a:pt x="42" y="486"/>
                    </a:lnTo>
                    <a:lnTo>
                      <a:pt x="30" y="498"/>
                    </a:lnTo>
                    <a:lnTo>
                      <a:pt x="24" y="510"/>
                    </a:lnTo>
                    <a:lnTo>
                      <a:pt x="18" y="516"/>
                    </a:lnTo>
                    <a:lnTo>
                      <a:pt x="18" y="582"/>
                    </a:lnTo>
                    <a:lnTo>
                      <a:pt x="6" y="594"/>
                    </a:lnTo>
                    <a:lnTo>
                      <a:pt x="6" y="606"/>
                    </a:lnTo>
                    <a:lnTo>
                      <a:pt x="18" y="630"/>
                    </a:lnTo>
                    <a:lnTo>
                      <a:pt x="30" y="666"/>
                    </a:lnTo>
                    <a:lnTo>
                      <a:pt x="36" y="678"/>
                    </a:lnTo>
                    <a:lnTo>
                      <a:pt x="36" y="684"/>
                    </a:lnTo>
                    <a:lnTo>
                      <a:pt x="12" y="684"/>
                    </a:lnTo>
                    <a:lnTo>
                      <a:pt x="18" y="738"/>
                    </a:lnTo>
                    <a:lnTo>
                      <a:pt x="6" y="744"/>
                    </a:lnTo>
                    <a:lnTo>
                      <a:pt x="0" y="744"/>
                    </a:lnTo>
                    <a:lnTo>
                      <a:pt x="0" y="768"/>
                    </a:lnTo>
                    <a:lnTo>
                      <a:pt x="6" y="774"/>
                    </a:lnTo>
                    <a:lnTo>
                      <a:pt x="6" y="780"/>
                    </a:lnTo>
                    <a:lnTo>
                      <a:pt x="18" y="786"/>
                    </a:lnTo>
                    <a:lnTo>
                      <a:pt x="36" y="804"/>
                    </a:lnTo>
                    <a:lnTo>
                      <a:pt x="36" y="816"/>
                    </a:lnTo>
                    <a:lnTo>
                      <a:pt x="30" y="822"/>
                    </a:lnTo>
                    <a:lnTo>
                      <a:pt x="30" y="828"/>
                    </a:lnTo>
                    <a:lnTo>
                      <a:pt x="48" y="846"/>
                    </a:lnTo>
                    <a:lnTo>
                      <a:pt x="60" y="876"/>
                    </a:lnTo>
                    <a:lnTo>
                      <a:pt x="66" y="888"/>
                    </a:lnTo>
                    <a:lnTo>
                      <a:pt x="60" y="894"/>
                    </a:lnTo>
                    <a:lnTo>
                      <a:pt x="60" y="906"/>
                    </a:lnTo>
                    <a:lnTo>
                      <a:pt x="72" y="918"/>
                    </a:lnTo>
                    <a:lnTo>
                      <a:pt x="96" y="918"/>
                    </a:lnTo>
                    <a:lnTo>
                      <a:pt x="102" y="960"/>
                    </a:lnTo>
                    <a:lnTo>
                      <a:pt x="108" y="972"/>
                    </a:lnTo>
                    <a:lnTo>
                      <a:pt x="114" y="978"/>
                    </a:lnTo>
                    <a:lnTo>
                      <a:pt x="120" y="990"/>
                    </a:lnTo>
                    <a:lnTo>
                      <a:pt x="120" y="996"/>
                    </a:lnTo>
                    <a:lnTo>
                      <a:pt x="102" y="1014"/>
                    </a:lnTo>
                    <a:lnTo>
                      <a:pt x="102" y="1038"/>
                    </a:lnTo>
                    <a:lnTo>
                      <a:pt x="96" y="1056"/>
                    </a:lnTo>
                    <a:lnTo>
                      <a:pt x="96" y="1086"/>
                    </a:lnTo>
                    <a:lnTo>
                      <a:pt x="84" y="1086"/>
                    </a:lnTo>
                    <a:lnTo>
                      <a:pt x="90" y="1092"/>
                    </a:lnTo>
                    <a:lnTo>
                      <a:pt x="96" y="1104"/>
                    </a:lnTo>
                    <a:lnTo>
                      <a:pt x="102" y="1110"/>
                    </a:lnTo>
                    <a:lnTo>
                      <a:pt x="108" y="1122"/>
                    </a:lnTo>
                    <a:lnTo>
                      <a:pt x="114" y="1128"/>
                    </a:lnTo>
                    <a:lnTo>
                      <a:pt x="114" y="1140"/>
                    </a:lnTo>
                    <a:lnTo>
                      <a:pt x="108" y="1152"/>
                    </a:lnTo>
                    <a:lnTo>
                      <a:pt x="108" y="1158"/>
                    </a:lnTo>
                    <a:lnTo>
                      <a:pt x="102" y="1176"/>
                    </a:lnTo>
                    <a:lnTo>
                      <a:pt x="78" y="1182"/>
                    </a:lnTo>
                    <a:lnTo>
                      <a:pt x="78" y="1188"/>
                    </a:lnTo>
                    <a:lnTo>
                      <a:pt x="84" y="1194"/>
                    </a:lnTo>
                    <a:lnTo>
                      <a:pt x="84" y="1206"/>
                    </a:lnTo>
                    <a:lnTo>
                      <a:pt x="90" y="1224"/>
                    </a:lnTo>
                    <a:lnTo>
                      <a:pt x="96" y="1236"/>
                    </a:lnTo>
                    <a:lnTo>
                      <a:pt x="96" y="1284"/>
                    </a:lnTo>
                    <a:lnTo>
                      <a:pt x="126" y="1308"/>
                    </a:lnTo>
                    <a:lnTo>
                      <a:pt x="126" y="1326"/>
                    </a:lnTo>
                    <a:lnTo>
                      <a:pt x="132" y="1326"/>
                    </a:lnTo>
                    <a:lnTo>
                      <a:pt x="150" y="1344"/>
                    </a:lnTo>
                    <a:lnTo>
                      <a:pt x="150" y="1350"/>
                    </a:lnTo>
                    <a:lnTo>
                      <a:pt x="144" y="1362"/>
                    </a:lnTo>
                    <a:lnTo>
                      <a:pt x="132" y="1368"/>
                    </a:lnTo>
                    <a:lnTo>
                      <a:pt x="126" y="1374"/>
                    </a:lnTo>
                    <a:lnTo>
                      <a:pt x="120" y="1374"/>
                    </a:lnTo>
                    <a:lnTo>
                      <a:pt x="132" y="1416"/>
                    </a:lnTo>
                    <a:lnTo>
                      <a:pt x="114" y="1428"/>
                    </a:lnTo>
                    <a:lnTo>
                      <a:pt x="132" y="1446"/>
                    </a:lnTo>
                    <a:lnTo>
                      <a:pt x="132" y="1452"/>
                    </a:lnTo>
                    <a:lnTo>
                      <a:pt x="126" y="1464"/>
                    </a:lnTo>
                    <a:lnTo>
                      <a:pt x="126" y="1470"/>
                    </a:lnTo>
                    <a:lnTo>
                      <a:pt x="144" y="1482"/>
                    </a:lnTo>
                    <a:lnTo>
                      <a:pt x="144" y="1494"/>
                    </a:lnTo>
                    <a:lnTo>
                      <a:pt x="138" y="1500"/>
                    </a:lnTo>
                    <a:lnTo>
                      <a:pt x="138" y="1530"/>
                    </a:lnTo>
                    <a:lnTo>
                      <a:pt x="144" y="1536"/>
                    </a:lnTo>
                    <a:lnTo>
                      <a:pt x="150" y="1548"/>
                    </a:lnTo>
                    <a:lnTo>
                      <a:pt x="150" y="1572"/>
                    </a:lnTo>
                    <a:lnTo>
                      <a:pt x="156" y="1584"/>
                    </a:lnTo>
                    <a:lnTo>
                      <a:pt x="174" y="1602"/>
                    </a:lnTo>
                    <a:lnTo>
                      <a:pt x="186" y="1608"/>
                    </a:lnTo>
                    <a:lnTo>
                      <a:pt x="198" y="1620"/>
                    </a:lnTo>
                    <a:lnTo>
                      <a:pt x="192" y="1620"/>
                    </a:lnTo>
                    <a:lnTo>
                      <a:pt x="180" y="1626"/>
                    </a:lnTo>
                    <a:lnTo>
                      <a:pt x="174" y="1632"/>
                    </a:lnTo>
                    <a:lnTo>
                      <a:pt x="174" y="1644"/>
                    </a:lnTo>
                    <a:lnTo>
                      <a:pt x="180" y="1656"/>
                    </a:lnTo>
                    <a:lnTo>
                      <a:pt x="180" y="1674"/>
                    </a:lnTo>
                    <a:lnTo>
                      <a:pt x="186" y="1686"/>
                    </a:lnTo>
                    <a:lnTo>
                      <a:pt x="186" y="1698"/>
                    </a:lnTo>
                    <a:lnTo>
                      <a:pt x="192" y="1704"/>
                    </a:lnTo>
                    <a:lnTo>
                      <a:pt x="216" y="1716"/>
                    </a:lnTo>
                    <a:lnTo>
                      <a:pt x="210" y="1746"/>
                    </a:lnTo>
                    <a:lnTo>
                      <a:pt x="216" y="1746"/>
                    </a:lnTo>
                    <a:lnTo>
                      <a:pt x="228" y="1752"/>
                    </a:lnTo>
                    <a:lnTo>
                      <a:pt x="234" y="1758"/>
                    </a:lnTo>
                    <a:lnTo>
                      <a:pt x="234" y="1764"/>
                    </a:lnTo>
                    <a:lnTo>
                      <a:pt x="240" y="1776"/>
                    </a:lnTo>
                    <a:lnTo>
                      <a:pt x="240" y="1806"/>
                    </a:lnTo>
                    <a:lnTo>
                      <a:pt x="252" y="1818"/>
                    </a:lnTo>
                    <a:lnTo>
                      <a:pt x="282" y="1818"/>
                    </a:lnTo>
                    <a:lnTo>
                      <a:pt x="294" y="1824"/>
                    </a:lnTo>
                    <a:lnTo>
                      <a:pt x="294" y="1830"/>
                    </a:lnTo>
                    <a:lnTo>
                      <a:pt x="288" y="1836"/>
                    </a:lnTo>
                    <a:lnTo>
                      <a:pt x="276" y="1836"/>
                    </a:lnTo>
                    <a:lnTo>
                      <a:pt x="264" y="1842"/>
                    </a:lnTo>
                    <a:lnTo>
                      <a:pt x="246" y="1842"/>
                    </a:lnTo>
                    <a:lnTo>
                      <a:pt x="252" y="1848"/>
                    </a:lnTo>
                    <a:lnTo>
                      <a:pt x="258" y="1848"/>
                    </a:lnTo>
                    <a:lnTo>
                      <a:pt x="270" y="1854"/>
                    </a:lnTo>
                    <a:lnTo>
                      <a:pt x="276" y="1860"/>
                    </a:lnTo>
                    <a:lnTo>
                      <a:pt x="288" y="1860"/>
                    </a:lnTo>
                    <a:lnTo>
                      <a:pt x="312" y="1884"/>
                    </a:lnTo>
                    <a:lnTo>
                      <a:pt x="306" y="1890"/>
                    </a:lnTo>
                    <a:lnTo>
                      <a:pt x="300" y="1902"/>
                    </a:lnTo>
                    <a:lnTo>
                      <a:pt x="288" y="1914"/>
                    </a:lnTo>
                    <a:lnTo>
                      <a:pt x="312" y="1932"/>
                    </a:lnTo>
                    <a:lnTo>
                      <a:pt x="306" y="1956"/>
                    </a:lnTo>
                    <a:lnTo>
                      <a:pt x="330" y="1980"/>
                    </a:lnTo>
                    <a:lnTo>
                      <a:pt x="324" y="2016"/>
                    </a:lnTo>
                    <a:lnTo>
                      <a:pt x="336" y="2040"/>
                    </a:lnTo>
                    <a:lnTo>
                      <a:pt x="324" y="2046"/>
                    </a:lnTo>
                    <a:lnTo>
                      <a:pt x="318" y="2088"/>
                    </a:lnTo>
                    <a:lnTo>
                      <a:pt x="324" y="2088"/>
                    </a:lnTo>
                    <a:lnTo>
                      <a:pt x="348" y="2112"/>
                    </a:lnTo>
                    <a:lnTo>
                      <a:pt x="348" y="2118"/>
                    </a:lnTo>
                    <a:lnTo>
                      <a:pt x="342" y="2118"/>
                    </a:lnTo>
                    <a:lnTo>
                      <a:pt x="330" y="2124"/>
                    </a:lnTo>
                    <a:lnTo>
                      <a:pt x="324" y="2130"/>
                    </a:lnTo>
                    <a:lnTo>
                      <a:pt x="348" y="2154"/>
                    </a:lnTo>
                    <a:lnTo>
                      <a:pt x="348" y="2160"/>
                    </a:lnTo>
                    <a:lnTo>
                      <a:pt x="342" y="2166"/>
                    </a:lnTo>
                    <a:lnTo>
                      <a:pt x="336" y="2166"/>
                    </a:lnTo>
                    <a:lnTo>
                      <a:pt x="330" y="2172"/>
                    </a:lnTo>
                    <a:lnTo>
                      <a:pt x="324" y="2172"/>
                    </a:lnTo>
                    <a:lnTo>
                      <a:pt x="324" y="2196"/>
                    </a:lnTo>
                    <a:lnTo>
                      <a:pt x="312" y="2202"/>
                    </a:lnTo>
                    <a:lnTo>
                      <a:pt x="312" y="2214"/>
                    </a:lnTo>
                    <a:lnTo>
                      <a:pt x="318" y="2226"/>
                    </a:lnTo>
                    <a:lnTo>
                      <a:pt x="324" y="2232"/>
                    </a:lnTo>
                    <a:lnTo>
                      <a:pt x="324" y="2268"/>
                    </a:lnTo>
                    <a:lnTo>
                      <a:pt x="354" y="2274"/>
                    </a:lnTo>
                    <a:lnTo>
                      <a:pt x="354" y="2280"/>
                    </a:lnTo>
                    <a:lnTo>
                      <a:pt x="360" y="2286"/>
                    </a:lnTo>
                    <a:lnTo>
                      <a:pt x="360" y="2298"/>
                    </a:lnTo>
                    <a:lnTo>
                      <a:pt x="366" y="2304"/>
                    </a:lnTo>
                    <a:lnTo>
                      <a:pt x="378" y="2310"/>
                    </a:lnTo>
                    <a:lnTo>
                      <a:pt x="384" y="2310"/>
                    </a:lnTo>
                    <a:lnTo>
                      <a:pt x="396" y="2298"/>
                    </a:lnTo>
                    <a:lnTo>
                      <a:pt x="414" y="2298"/>
                    </a:lnTo>
                    <a:lnTo>
                      <a:pt x="426" y="2304"/>
                    </a:lnTo>
                    <a:lnTo>
                      <a:pt x="438" y="2316"/>
                    </a:lnTo>
                    <a:lnTo>
                      <a:pt x="438" y="2340"/>
                    </a:lnTo>
                    <a:lnTo>
                      <a:pt x="456" y="2364"/>
                    </a:lnTo>
                    <a:lnTo>
                      <a:pt x="468" y="2382"/>
                    </a:lnTo>
                    <a:lnTo>
                      <a:pt x="504" y="2400"/>
                    </a:lnTo>
                    <a:lnTo>
                      <a:pt x="522" y="2418"/>
                    </a:lnTo>
                    <a:lnTo>
                      <a:pt x="534" y="2418"/>
                    </a:lnTo>
                    <a:lnTo>
                      <a:pt x="546" y="2412"/>
                    </a:lnTo>
                    <a:lnTo>
                      <a:pt x="642" y="2412"/>
                    </a:lnTo>
                    <a:lnTo>
                      <a:pt x="666" y="2430"/>
                    </a:lnTo>
                    <a:lnTo>
                      <a:pt x="660" y="2442"/>
                    </a:lnTo>
                    <a:lnTo>
                      <a:pt x="666" y="2424"/>
                    </a:lnTo>
                    <a:lnTo>
                      <a:pt x="672" y="2418"/>
                    </a:lnTo>
                    <a:lnTo>
                      <a:pt x="684" y="2418"/>
                    </a:lnTo>
                    <a:lnTo>
                      <a:pt x="690" y="2424"/>
                    </a:lnTo>
                    <a:lnTo>
                      <a:pt x="702" y="2424"/>
                    </a:lnTo>
                    <a:lnTo>
                      <a:pt x="714" y="2430"/>
                    </a:lnTo>
                    <a:lnTo>
                      <a:pt x="720" y="2436"/>
                    </a:lnTo>
                    <a:lnTo>
                      <a:pt x="678" y="2382"/>
                    </a:lnTo>
                    <a:lnTo>
                      <a:pt x="660" y="2382"/>
                    </a:lnTo>
                    <a:lnTo>
                      <a:pt x="666" y="2370"/>
                    </a:lnTo>
                    <a:lnTo>
                      <a:pt x="630" y="2340"/>
                    </a:lnTo>
                    <a:lnTo>
                      <a:pt x="630" y="2310"/>
                    </a:lnTo>
                    <a:lnTo>
                      <a:pt x="618" y="2298"/>
                    </a:lnTo>
                    <a:lnTo>
                      <a:pt x="624" y="2286"/>
                    </a:lnTo>
                    <a:lnTo>
                      <a:pt x="630" y="2286"/>
                    </a:lnTo>
                    <a:lnTo>
                      <a:pt x="642" y="2274"/>
                    </a:lnTo>
                    <a:lnTo>
                      <a:pt x="642" y="2268"/>
                    </a:lnTo>
                    <a:lnTo>
                      <a:pt x="636" y="2268"/>
                    </a:lnTo>
                    <a:lnTo>
                      <a:pt x="624" y="2262"/>
                    </a:lnTo>
                    <a:lnTo>
                      <a:pt x="606" y="2262"/>
                    </a:lnTo>
                    <a:lnTo>
                      <a:pt x="618" y="2250"/>
                    </a:lnTo>
                    <a:lnTo>
                      <a:pt x="618" y="2232"/>
                    </a:lnTo>
                    <a:lnTo>
                      <a:pt x="636" y="2256"/>
                    </a:lnTo>
                    <a:lnTo>
                      <a:pt x="648" y="2262"/>
                    </a:lnTo>
                    <a:lnTo>
                      <a:pt x="666" y="2262"/>
                    </a:lnTo>
                    <a:lnTo>
                      <a:pt x="672" y="2256"/>
                    </a:lnTo>
                    <a:lnTo>
                      <a:pt x="678" y="2244"/>
                    </a:lnTo>
                    <a:lnTo>
                      <a:pt x="678" y="2226"/>
                    </a:lnTo>
                    <a:lnTo>
                      <a:pt x="672" y="2208"/>
                    </a:lnTo>
                    <a:lnTo>
                      <a:pt x="666" y="2196"/>
                    </a:lnTo>
                    <a:lnTo>
                      <a:pt x="666" y="2178"/>
                    </a:lnTo>
                    <a:lnTo>
                      <a:pt x="678" y="2154"/>
                    </a:lnTo>
                    <a:lnTo>
                      <a:pt x="690" y="2142"/>
                    </a:lnTo>
                    <a:lnTo>
                      <a:pt x="708" y="2130"/>
                    </a:lnTo>
                    <a:lnTo>
                      <a:pt x="738" y="2100"/>
                    </a:lnTo>
                    <a:lnTo>
                      <a:pt x="726" y="2088"/>
                    </a:lnTo>
                    <a:lnTo>
                      <a:pt x="702" y="2088"/>
                    </a:lnTo>
                    <a:lnTo>
                      <a:pt x="726" y="2082"/>
                    </a:lnTo>
                    <a:lnTo>
                      <a:pt x="726" y="2064"/>
                    </a:lnTo>
                    <a:lnTo>
                      <a:pt x="714" y="2040"/>
                    </a:lnTo>
                    <a:lnTo>
                      <a:pt x="708" y="2034"/>
                    </a:lnTo>
                    <a:lnTo>
                      <a:pt x="696" y="2028"/>
                    </a:lnTo>
                    <a:lnTo>
                      <a:pt x="690" y="2028"/>
                    </a:lnTo>
                    <a:lnTo>
                      <a:pt x="684" y="2034"/>
                    </a:lnTo>
                    <a:lnTo>
                      <a:pt x="672" y="2016"/>
                    </a:lnTo>
                    <a:lnTo>
                      <a:pt x="642" y="2016"/>
                    </a:lnTo>
                    <a:lnTo>
                      <a:pt x="636" y="2010"/>
                    </a:lnTo>
                    <a:lnTo>
                      <a:pt x="624" y="2004"/>
                    </a:lnTo>
                    <a:lnTo>
                      <a:pt x="606" y="1992"/>
                    </a:lnTo>
                    <a:lnTo>
                      <a:pt x="582" y="1968"/>
                    </a:lnTo>
                    <a:lnTo>
                      <a:pt x="570" y="1950"/>
                    </a:lnTo>
                    <a:lnTo>
                      <a:pt x="564" y="1938"/>
                    </a:lnTo>
                    <a:lnTo>
                      <a:pt x="564" y="1926"/>
                    </a:lnTo>
                    <a:lnTo>
                      <a:pt x="570" y="1914"/>
                    </a:lnTo>
                    <a:lnTo>
                      <a:pt x="570" y="1908"/>
                    </a:lnTo>
                    <a:lnTo>
                      <a:pt x="576" y="1908"/>
                    </a:lnTo>
                    <a:lnTo>
                      <a:pt x="582" y="1902"/>
                    </a:lnTo>
                    <a:lnTo>
                      <a:pt x="594" y="1878"/>
                    </a:lnTo>
                    <a:lnTo>
                      <a:pt x="606" y="1878"/>
                    </a:lnTo>
                    <a:lnTo>
                      <a:pt x="612" y="1860"/>
                    </a:lnTo>
                    <a:lnTo>
                      <a:pt x="666" y="1860"/>
                    </a:lnTo>
                    <a:lnTo>
                      <a:pt x="654" y="1848"/>
                    </a:lnTo>
                    <a:lnTo>
                      <a:pt x="654" y="1824"/>
                    </a:lnTo>
                    <a:lnTo>
                      <a:pt x="666" y="1824"/>
                    </a:lnTo>
                    <a:lnTo>
                      <a:pt x="666" y="1794"/>
                    </a:lnTo>
                    <a:lnTo>
                      <a:pt x="660" y="1788"/>
                    </a:lnTo>
                    <a:lnTo>
                      <a:pt x="654" y="1776"/>
                    </a:lnTo>
                    <a:lnTo>
                      <a:pt x="642" y="1764"/>
                    </a:lnTo>
                    <a:lnTo>
                      <a:pt x="642" y="1746"/>
                    </a:lnTo>
                    <a:lnTo>
                      <a:pt x="648" y="1728"/>
                    </a:lnTo>
                    <a:lnTo>
                      <a:pt x="654" y="1716"/>
                    </a:lnTo>
                    <a:lnTo>
                      <a:pt x="666" y="1710"/>
                    </a:lnTo>
                    <a:lnTo>
                      <a:pt x="672" y="1704"/>
                    </a:lnTo>
                    <a:lnTo>
                      <a:pt x="684" y="1704"/>
                    </a:lnTo>
                    <a:lnTo>
                      <a:pt x="684" y="1692"/>
                    </a:lnTo>
                    <a:lnTo>
                      <a:pt x="660" y="1692"/>
                    </a:lnTo>
                    <a:lnTo>
                      <a:pt x="648" y="1686"/>
                    </a:lnTo>
                    <a:lnTo>
                      <a:pt x="642" y="1680"/>
                    </a:lnTo>
                    <a:lnTo>
                      <a:pt x="642" y="1674"/>
                    </a:lnTo>
                    <a:lnTo>
                      <a:pt x="654" y="1668"/>
                    </a:lnTo>
                    <a:lnTo>
                      <a:pt x="666" y="1668"/>
                    </a:lnTo>
                    <a:lnTo>
                      <a:pt x="702" y="1686"/>
                    </a:lnTo>
                    <a:lnTo>
                      <a:pt x="708" y="1692"/>
                    </a:lnTo>
                    <a:lnTo>
                      <a:pt x="714" y="1692"/>
                    </a:lnTo>
                    <a:lnTo>
                      <a:pt x="720" y="1686"/>
                    </a:lnTo>
                    <a:lnTo>
                      <a:pt x="732" y="1680"/>
                    </a:lnTo>
                    <a:lnTo>
                      <a:pt x="732" y="1656"/>
                    </a:lnTo>
                    <a:lnTo>
                      <a:pt x="726" y="1644"/>
                    </a:lnTo>
                    <a:lnTo>
                      <a:pt x="708" y="1626"/>
                    </a:lnTo>
                    <a:lnTo>
                      <a:pt x="696" y="1626"/>
                    </a:lnTo>
                    <a:lnTo>
                      <a:pt x="690" y="1632"/>
                    </a:lnTo>
                    <a:lnTo>
                      <a:pt x="690" y="1650"/>
                    </a:lnTo>
                    <a:lnTo>
                      <a:pt x="684" y="1656"/>
                    </a:lnTo>
                    <a:lnTo>
                      <a:pt x="666" y="1656"/>
                    </a:lnTo>
                    <a:lnTo>
                      <a:pt x="654" y="1650"/>
                    </a:lnTo>
                    <a:lnTo>
                      <a:pt x="648" y="1644"/>
                    </a:lnTo>
                    <a:lnTo>
                      <a:pt x="648" y="1638"/>
                    </a:lnTo>
                    <a:lnTo>
                      <a:pt x="612" y="1638"/>
                    </a:lnTo>
                    <a:lnTo>
                      <a:pt x="606" y="1632"/>
                    </a:lnTo>
                    <a:lnTo>
                      <a:pt x="606" y="1572"/>
                    </a:lnTo>
                    <a:lnTo>
                      <a:pt x="600" y="1566"/>
                    </a:lnTo>
                    <a:lnTo>
                      <a:pt x="594" y="1554"/>
                    </a:lnTo>
                    <a:lnTo>
                      <a:pt x="588" y="1536"/>
                    </a:lnTo>
                    <a:lnTo>
                      <a:pt x="588" y="1524"/>
                    </a:lnTo>
                    <a:lnTo>
                      <a:pt x="594" y="1518"/>
                    </a:lnTo>
                    <a:lnTo>
                      <a:pt x="600" y="1518"/>
                    </a:lnTo>
                    <a:lnTo>
                      <a:pt x="606" y="1524"/>
                    </a:lnTo>
                    <a:lnTo>
                      <a:pt x="618" y="1524"/>
                    </a:lnTo>
                    <a:lnTo>
                      <a:pt x="624" y="1530"/>
                    </a:lnTo>
                    <a:lnTo>
                      <a:pt x="636" y="1536"/>
                    </a:lnTo>
                    <a:lnTo>
                      <a:pt x="672" y="1548"/>
                    </a:lnTo>
                    <a:lnTo>
                      <a:pt x="690" y="1560"/>
                    </a:lnTo>
                    <a:lnTo>
                      <a:pt x="708" y="1560"/>
                    </a:lnTo>
                    <a:lnTo>
                      <a:pt x="726" y="1554"/>
                    </a:lnTo>
                    <a:lnTo>
                      <a:pt x="738" y="1542"/>
                    </a:lnTo>
                    <a:lnTo>
                      <a:pt x="750" y="1536"/>
                    </a:lnTo>
                    <a:lnTo>
                      <a:pt x="768" y="1530"/>
                    </a:lnTo>
                    <a:lnTo>
                      <a:pt x="774" y="1524"/>
                    </a:lnTo>
                    <a:lnTo>
                      <a:pt x="774" y="1512"/>
                    </a:lnTo>
                    <a:lnTo>
                      <a:pt x="762" y="1506"/>
                    </a:lnTo>
                    <a:lnTo>
                      <a:pt x="750" y="1494"/>
                    </a:lnTo>
                    <a:lnTo>
                      <a:pt x="738" y="1488"/>
                    </a:lnTo>
                    <a:lnTo>
                      <a:pt x="738" y="1464"/>
                    </a:lnTo>
                    <a:lnTo>
                      <a:pt x="744" y="1452"/>
                    </a:lnTo>
                    <a:lnTo>
                      <a:pt x="750" y="1446"/>
                    </a:lnTo>
                    <a:lnTo>
                      <a:pt x="750" y="1434"/>
                    </a:lnTo>
                    <a:lnTo>
                      <a:pt x="756" y="1422"/>
                    </a:lnTo>
                    <a:lnTo>
                      <a:pt x="744" y="1410"/>
                    </a:lnTo>
                    <a:lnTo>
                      <a:pt x="726" y="1410"/>
                    </a:lnTo>
                    <a:lnTo>
                      <a:pt x="720" y="1386"/>
                    </a:lnTo>
                    <a:lnTo>
                      <a:pt x="714" y="1380"/>
                    </a:lnTo>
                    <a:lnTo>
                      <a:pt x="714" y="1368"/>
                    </a:lnTo>
                    <a:lnTo>
                      <a:pt x="720" y="1362"/>
                    </a:lnTo>
                    <a:lnTo>
                      <a:pt x="726" y="1362"/>
                    </a:lnTo>
                    <a:lnTo>
                      <a:pt x="732" y="1374"/>
                    </a:lnTo>
                    <a:lnTo>
                      <a:pt x="738" y="1380"/>
                    </a:lnTo>
                    <a:lnTo>
                      <a:pt x="738" y="1386"/>
                    </a:lnTo>
                    <a:lnTo>
                      <a:pt x="744" y="1398"/>
                    </a:lnTo>
                    <a:lnTo>
                      <a:pt x="756" y="1398"/>
                    </a:lnTo>
                    <a:lnTo>
                      <a:pt x="750" y="1380"/>
                    </a:lnTo>
                    <a:lnTo>
                      <a:pt x="828" y="1386"/>
                    </a:lnTo>
                    <a:lnTo>
                      <a:pt x="834" y="1380"/>
                    </a:lnTo>
                    <a:lnTo>
                      <a:pt x="840" y="1380"/>
                    </a:lnTo>
                    <a:lnTo>
                      <a:pt x="846" y="1374"/>
                    </a:lnTo>
                    <a:lnTo>
                      <a:pt x="864" y="1368"/>
                    </a:lnTo>
                    <a:lnTo>
                      <a:pt x="894" y="1362"/>
                    </a:lnTo>
                    <a:lnTo>
                      <a:pt x="930" y="1350"/>
                    </a:lnTo>
                    <a:lnTo>
                      <a:pt x="972" y="1338"/>
                    </a:lnTo>
                    <a:lnTo>
                      <a:pt x="1002" y="1326"/>
                    </a:lnTo>
                    <a:lnTo>
                      <a:pt x="1014" y="1320"/>
                    </a:lnTo>
                    <a:lnTo>
                      <a:pt x="1014" y="1284"/>
                    </a:lnTo>
                    <a:lnTo>
                      <a:pt x="1032" y="1272"/>
                    </a:lnTo>
                    <a:lnTo>
                      <a:pt x="1044" y="1218"/>
                    </a:lnTo>
                    <a:lnTo>
                      <a:pt x="1038" y="1194"/>
                    </a:lnTo>
                    <a:lnTo>
                      <a:pt x="1038" y="1170"/>
                    </a:lnTo>
                    <a:lnTo>
                      <a:pt x="1032" y="1170"/>
                    </a:lnTo>
                    <a:lnTo>
                      <a:pt x="1026" y="1164"/>
                    </a:lnTo>
                    <a:lnTo>
                      <a:pt x="1002" y="1152"/>
                    </a:lnTo>
                    <a:lnTo>
                      <a:pt x="990" y="1152"/>
                    </a:lnTo>
                    <a:lnTo>
                      <a:pt x="984" y="1146"/>
                    </a:lnTo>
                    <a:lnTo>
                      <a:pt x="978" y="1146"/>
                    </a:lnTo>
                    <a:lnTo>
                      <a:pt x="972" y="1140"/>
                    </a:lnTo>
                    <a:lnTo>
                      <a:pt x="990" y="1122"/>
                    </a:lnTo>
                    <a:lnTo>
                      <a:pt x="990" y="1092"/>
                    </a:lnTo>
                    <a:lnTo>
                      <a:pt x="984" y="1080"/>
                    </a:lnTo>
                    <a:lnTo>
                      <a:pt x="978" y="1074"/>
                    </a:lnTo>
                    <a:lnTo>
                      <a:pt x="954" y="1062"/>
                    </a:lnTo>
                    <a:lnTo>
                      <a:pt x="918" y="1050"/>
                    </a:lnTo>
                    <a:lnTo>
                      <a:pt x="906" y="1044"/>
                    </a:lnTo>
                    <a:lnTo>
                      <a:pt x="888" y="1032"/>
                    </a:lnTo>
                    <a:lnTo>
                      <a:pt x="876" y="1020"/>
                    </a:lnTo>
                    <a:lnTo>
                      <a:pt x="876" y="1002"/>
                    </a:lnTo>
                    <a:lnTo>
                      <a:pt x="882" y="990"/>
                    </a:lnTo>
                    <a:lnTo>
                      <a:pt x="888" y="990"/>
                    </a:lnTo>
                    <a:lnTo>
                      <a:pt x="888" y="984"/>
                    </a:lnTo>
                    <a:lnTo>
                      <a:pt x="858" y="948"/>
                    </a:lnTo>
                    <a:lnTo>
                      <a:pt x="858" y="900"/>
                    </a:lnTo>
                    <a:lnTo>
                      <a:pt x="882" y="900"/>
                    </a:lnTo>
                    <a:lnTo>
                      <a:pt x="888" y="894"/>
                    </a:lnTo>
                    <a:lnTo>
                      <a:pt x="894" y="894"/>
                    </a:lnTo>
                    <a:lnTo>
                      <a:pt x="894" y="888"/>
                    </a:lnTo>
                    <a:lnTo>
                      <a:pt x="888" y="876"/>
                    </a:lnTo>
                    <a:lnTo>
                      <a:pt x="876" y="870"/>
                    </a:lnTo>
                    <a:lnTo>
                      <a:pt x="870" y="858"/>
                    </a:lnTo>
                    <a:lnTo>
                      <a:pt x="864" y="852"/>
                    </a:lnTo>
                    <a:lnTo>
                      <a:pt x="876" y="834"/>
                    </a:lnTo>
                    <a:lnTo>
                      <a:pt x="864" y="822"/>
                    </a:lnTo>
                    <a:lnTo>
                      <a:pt x="858" y="810"/>
                    </a:lnTo>
                    <a:lnTo>
                      <a:pt x="852" y="804"/>
                    </a:lnTo>
                    <a:lnTo>
                      <a:pt x="864" y="792"/>
                    </a:lnTo>
                    <a:lnTo>
                      <a:pt x="882" y="792"/>
                    </a:lnTo>
                    <a:lnTo>
                      <a:pt x="858" y="774"/>
                    </a:lnTo>
                    <a:lnTo>
                      <a:pt x="858" y="738"/>
                    </a:lnTo>
                    <a:lnTo>
                      <a:pt x="882" y="726"/>
                    </a:lnTo>
                    <a:lnTo>
                      <a:pt x="876" y="726"/>
                    </a:lnTo>
                    <a:lnTo>
                      <a:pt x="852" y="702"/>
                    </a:lnTo>
                    <a:lnTo>
                      <a:pt x="852" y="696"/>
                    </a:lnTo>
                    <a:lnTo>
                      <a:pt x="870" y="678"/>
                    </a:lnTo>
                    <a:lnTo>
                      <a:pt x="870" y="666"/>
                    </a:lnTo>
                    <a:lnTo>
                      <a:pt x="876" y="654"/>
                    </a:lnTo>
                    <a:lnTo>
                      <a:pt x="876" y="642"/>
                    </a:lnTo>
                    <a:lnTo>
                      <a:pt x="882" y="636"/>
                    </a:lnTo>
                    <a:lnTo>
                      <a:pt x="900" y="636"/>
                    </a:lnTo>
                    <a:lnTo>
                      <a:pt x="906" y="630"/>
                    </a:lnTo>
                    <a:lnTo>
                      <a:pt x="912" y="618"/>
                    </a:lnTo>
                    <a:lnTo>
                      <a:pt x="918" y="612"/>
                    </a:lnTo>
                    <a:lnTo>
                      <a:pt x="918" y="588"/>
                    </a:lnTo>
                    <a:lnTo>
                      <a:pt x="930" y="588"/>
                    </a:lnTo>
                    <a:lnTo>
                      <a:pt x="948" y="570"/>
                    </a:lnTo>
                    <a:lnTo>
                      <a:pt x="948" y="558"/>
                    </a:lnTo>
                    <a:lnTo>
                      <a:pt x="954" y="546"/>
                    </a:lnTo>
                    <a:lnTo>
                      <a:pt x="954" y="534"/>
                    </a:lnTo>
                    <a:close/>
                    <a:moveTo>
                      <a:pt x="930" y="1020"/>
                    </a:moveTo>
                    <a:lnTo>
                      <a:pt x="942" y="1020"/>
                    </a:lnTo>
                    <a:lnTo>
                      <a:pt x="930" y="1014"/>
                    </a:lnTo>
                    <a:lnTo>
                      <a:pt x="930" y="102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cxnSp>
          <p:nvCxnSpPr>
            <p:cNvPr id="10" name="Straight Connector 38">
              <a:extLst>
                <a:ext uri="{FF2B5EF4-FFF2-40B4-BE49-F238E27FC236}">
                  <a16:creationId xmlns:a16="http://schemas.microsoft.com/office/drawing/2014/main" id="{B42B735B-7F09-41C3-9F12-562FE4C5DCA1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8369044" y="3103887"/>
              <a:ext cx="252967" cy="429094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40">
              <a:extLst>
                <a:ext uri="{FF2B5EF4-FFF2-40B4-BE49-F238E27FC236}">
                  <a16:creationId xmlns:a16="http://schemas.microsoft.com/office/drawing/2014/main" id="{AD13364D-C4BD-4D16-ABFE-A4002F15106E}"/>
                </a:ext>
              </a:extLst>
            </p:cNvPr>
            <p:cNvCxnSpPr/>
            <p:nvPr/>
          </p:nvCxnSpPr>
          <p:spPr bwMode="gray">
            <a:xfrm flipV="1">
              <a:off x="8715292" y="4343400"/>
              <a:ext cx="432431" cy="33453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42">
              <a:extLst>
                <a:ext uri="{FF2B5EF4-FFF2-40B4-BE49-F238E27FC236}">
                  <a16:creationId xmlns:a16="http://schemas.microsoft.com/office/drawing/2014/main" id="{1A3A0C44-D028-4DA7-8876-18E45FB9A74B}"/>
                </a:ext>
              </a:extLst>
            </p:cNvPr>
            <p:cNvCxnSpPr/>
            <p:nvPr/>
          </p:nvCxnSpPr>
          <p:spPr bwMode="gray">
            <a:xfrm flipV="1">
              <a:off x="9111506" y="4892752"/>
              <a:ext cx="908029" cy="526442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43">
              <a:extLst>
                <a:ext uri="{FF2B5EF4-FFF2-40B4-BE49-F238E27FC236}">
                  <a16:creationId xmlns:a16="http://schemas.microsoft.com/office/drawing/2014/main" id="{07011F5A-E3A5-434E-A087-27650A09F048}"/>
                </a:ext>
              </a:extLst>
            </p:cNvPr>
            <p:cNvSpPr txBox="1"/>
            <p:nvPr/>
          </p:nvSpPr>
          <p:spPr bwMode="gray">
            <a:xfrm>
              <a:off x="7561949" y="3486947"/>
              <a:ext cx="1479345" cy="8050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200"/>
                </a:spcAft>
                <a:buClr>
                  <a:schemeClr val="tx2"/>
                </a:buClr>
                <a:buSzPct val="80000"/>
              </a:pPr>
              <a:r>
                <a:rPr 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El Salvador</a:t>
              </a:r>
              <a:endParaRPr lang="en-GB" sz="1400" dirty="0" err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4" name="TextBox 44">
              <a:extLst>
                <a:ext uri="{FF2B5EF4-FFF2-40B4-BE49-F238E27FC236}">
                  <a16:creationId xmlns:a16="http://schemas.microsoft.com/office/drawing/2014/main" id="{9AA8FF7D-5C74-4E59-84CA-043E199B068E}"/>
                </a:ext>
              </a:extLst>
            </p:cNvPr>
            <p:cNvSpPr txBox="1"/>
            <p:nvPr/>
          </p:nvSpPr>
          <p:spPr bwMode="gray">
            <a:xfrm>
              <a:off x="8320161" y="4603643"/>
              <a:ext cx="516187" cy="3198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200"/>
                </a:spcAft>
                <a:buClr>
                  <a:schemeClr val="tx2"/>
                </a:buClr>
                <a:buSzPct val="80000"/>
              </a:pPr>
              <a:r>
                <a:rPr 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Peru</a:t>
              </a:r>
              <a:endParaRPr lang="en-GB" sz="1400" dirty="0" err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5" name="TextBox 45">
              <a:extLst>
                <a:ext uri="{FF2B5EF4-FFF2-40B4-BE49-F238E27FC236}">
                  <a16:creationId xmlns:a16="http://schemas.microsoft.com/office/drawing/2014/main" id="{95EFF73A-7E6A-467E-8BC3-A047B6A07B96}"/>
                </a:ext>
              </a:extLst>
            </p:cNvPr>
            <p:cNvSpPr txBox="1"/>
            <p:nvPr/>
          </p:nvSpPr>
          <p:spPr bwMode="gray">
            <a:xfrm>
              <a:off x="8376365" y="5329828"/>
              <a:ext cx="1479345" cy="8050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200"/>
                </a:spcAft>
                <a:buClr>
                  <a:schemeClr val="tx2"/>
                </a:buClr>
                <a:buSzPct val="80000"/>
              </a:pPr>
              <a:r>
                <a:rPr 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Paraguay</a:t>
              </a:r>
              <a:endParaRPr lang="en-GB" sz="1400" dirty="0" err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11FE39DC-B9E9-4872-98A9-40890C62D1E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9" name="2015 02 19 Logo UNIQUE.png">
            <a:extLst>
              <a:ext uri="{FF2B5EF4-FFF2-40B4-BE49-F238E27FC236}">
                <a16:creationId xmlns:a16="http://schemas.microsoft.com/office/drawing/2014/main" id="{E2109E4B-B9E3-4D03-9DFF-52E8D9CD17C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6871" y="2430866"/>
            <a:ext cx="1033449" cy="708651"/>
          </a:xfrm>
          <a:prstGeom prst="rect">
            <a:avLst/>
          </a:prstGeom>
          <a:ln w="12700">
            <a:miter lim="400000"/>
          </a:ln>
        </p:spPr>
      </p:pic>
      <p:pic>
        <p:nvPicPr>
          <p:cNvPr id="50" name="Grafik 49">
            <a:extLst>
              <a:ext uri="{FF2B5EF4-FFF2-40B4-BE49-F238E27FC236}">
                <a16:creationId xmlns:a16="http://schemas.microsoft.com/office/drawing/2014/main" id="{8FAB6D4E-3DEB-45D5-94EB-711999C889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05060" y="2524295"/>
            <a:ext cx="1786103" cy="453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013347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96A10E8-9F40-423D-BF93-F0ECF74C59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roject Work Streams and Implementing Partners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F65098F-0646-41A0-A5CB-8A1E3EEBCA84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de-DE" smtClean="0"/>
              <a:t>4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FFF37B9-694B-4C93-8138-5F5F0F8683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19A27F2-5F85-44A0-9BD7-B041AD120DD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Four work streams to overcome barriers of FLR Investments</a:t>
            </a:r>
            <a:endParaRPr lang="en-GB" dirty="0"/>
          </a:p>
          <a:p>
            <a:endParaRPr lang="de-DE" dirty="0"/>
          </a:p>
        </p:txBody>
      </p:sp>
      <p:sp>
        <p:nvSpPr>
          <p:cNvPr id="7" name="Rectangle: Diagonal Corners Rounded 14">
            <a:extLst>
              <a:ext uri="{FF2B5EF4-FFF2-40B4-BE49-F238E27FC236}">
                <a16:creationId xmlns:a16="http://schemas.microsoft.com/office/drawing/2014/main" id="{2BAEB0ED-4FA3-4E30-8BA9-EA851E1FAEE7}"/>
              </a:ext>
            </a:extLst>
          </p:cNvPr>
          <p:cNvSpPr>
            <a:spLocks noChangeAspect="1"/>
          </p:cNvSpPr>
          <p:nvPr/>
        </p:nvSpPr>
        <p:spPr bwMode="gray">
          <a:xfrm>
            <a:off x="6758672" y="2512625"/>
            <a:ext cx="3145640" cy="1075950"/>
          </a:xfrm>
          <a:prstGeom prst="round2Diag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>
              <a:buClr>
                <a:schemeClr val="tx2"/>
              </a:buClr>
              <a:buSzPct val="80000"/>
            </a:pPr>
            <a:r>
              <a:rPr lang="en-US" sz="1800" b="0" dirty="0">
                <a:solidFill>
                  <a:schemeClr val="tx1"/>
                </a:solidFill>
              </a:rPr>
              <a:t>Deal origination support (create a </a:t>
            </a:r>
            <a:r>
              <a:rPr lang="en-US" sz="1800" dirty="0">
                <a:solidFill>
                  <a:schemeClr val="tx1"/>
                </a:solidFill>
              </a:rPr>
              <a:t>pipeline of bankable FLR projects</a:t>
            </a:r>
            <a:r>
              <a:rPr lang="en-US" sz="1800" b="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8" name="Rectangle: Diagonal Corners Rounded 16">
            <a:extLst>
              <a:ext uri="{FF2B5EF4-FFF2-40B4-BE49-F238E27FC236}">
                <a16:creationId xmlns:a16="http://schemas.microsoft.com/office/drawing/2014/main" id="{1D7BD9E3-B63A-4667-B151-02731642ED9A}"/>
              </a:ext>
            </a:extLst>
          </p:cNvPr>
          <p:cNvSpPr>
            <a:spLocks noChangeAspect="1"/>
          </p:cNvSpPr>
          <p:nvPr/>
        </p:nvSpPr>
        <p:spPr bwMode="gray">
          <a:xfrm>
            <a:off x="1754605" y="4502477"/>
            <a:ext cx="3145641" cy="1075950"/>
          </a:xfrm>
          <a:prstGeom prst="round2Diag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>
              <a:buClr>
                <a:schemeClr val="tx2"/>
              </a:buClr>
              <a:buSzPct val="80000"/>
            </a:pPr>
            <a:r>
              <a:rPr lang="en-US" sz="1800" b="0" dirty="0">
                <a:solidFill>
                  <a:schemeClr val="tx1"/>
                </a:solidFill>
              </a:rPr>
              <a:t>Technical Assistance for </a:t>
            </a:r>
            <a:r>
              <a:rPr lang="en-US" sz="1800" dirty="0">
                <a:solidFill>
                  <a:schemeClr val="tx1"/>
                </a:solidFill>
              </a:rPr>
              <a:t>loan/investment beneficiaries</a:t>
            </a:r>
          </a:p>
        </p:txBody>
      </p:sp>
      <p:sp>
        <p:nvSpPr>
          <p:cNvPr id="9" name="Rectangle: Diagonal Corners Rounded 1">
            <a:extLst>
              <a:ext uri="{FF2B5EF4-FFF2-40B4-BE49-F238E27FC236}">
                <a16:creationId xmlns:a16="http://schemas.microsoft.com/office/drawing/2014/main" id="{8453770F-97A1-416F-999A-E76279D403DB}"/>
              </a:ext>
            </a:extLst>
          </p:cNvPr>
          <p:cNvSpPr>
            <a:spLocks noChangeAspect="1"/>
          </p:cNvSpPr>
          <p:nvPr/>
        </p:nvSpPr>
        <p:spPr bwMode="gray">
          <a:xfrm>
            <a:off x="1754606" y="2539434"/>
            <a:ext cx="3145640" cy="1076400"/>
          </a:xfrm>
          <a:prstGeom prst="round2Diag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>
              <a:spcAft>
                <a:spcPts val="600"/>
              </a:spcAft>
            </a:pPr>
            <a:r>
              <a:rPr lang="en-US" sz="1800" b="0" dirty="0">
                <a:solidFill>
                  <a:schemeClr val="tx1"/>
                </a:solidFill>
              </a:rPr>
              <a:t>Development of IT-based </a:t>
            </a:r>
            <a:r>
              <a:rPr lang="en-US" sz="1800" dirty="0">
                <a:solidFill>
                  <a:schemeClr val="tx1"/>
                </a:solidFill>
              </a:rPr>
              <a:t>Impact Monitoring Tool </a:t>
            </a:r>
            <a:r>
              <a:rPr lang="en-US" sz="1800" b="0" dirty="0">
                <a:solidFill>
                  <a:schemeClr val="tx1"/>
                </a:solidFill>
              </a:rPr>
              <a:t>for Financial Institutions</a:t>
            </a:r>
          </a:p>
        </p:txBody>
      </p:sp>
      <p:sp>
        <p:nvSpPr>
          <p:cNvPr id="10" name="Rectangle: Diagonal Corners Rounded 16">
            <a:extLst>
              <a:ext uri="{FF2B5EF4-FFF2-40B4-BE49-F238E27FC236}">
                <a16:creationId xmlns:a16="http://schemas.microsoft.com/office/drawing/2014/main" id="{FE6AD525-1E6A-42FB-8115-023EC828DB03}"/>
              </a:ext>
            </a:extLst>
          </p:cNvPr>
          <p:cNvSpPr>
            <a:spLocks noChangeAspect="1"/>
          </p:cNvSpPr>
          <p:nvPr/>
        </p:nvSpPr>
        <p:spPr bwMode="gray">
          <a:xfrm>
            <a:off x="6806802" y="4475218"/>
            <a:ext cx="3097510" cy="1076400"/>
          </a:xfrm>
          <a:prstGeom prst="round2Diag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>
              <a:buClr>
                <a:schemeClr val="tx2"/>
              </a:buClr>
              <a:buSzPct val="80000"/>
            </a:pPr>
            <a:r>
              <a:rPr lang="en-US" sz="1800" b="0" dirty="0">
                <a:solidFill>
                  <a:schemeClr val="tx1"/>
                </a:solidFill>
              </a:rPr>
              <a:t>Capacity Building for Green Recovery: </a:t>
            </a:r>
            <a:r>
              <a:rPr lang="en-US" sz="1800" dirty="0">
                <a:solidFill>
                  <a:schemeClr val="tx1"/>
                </a:solidFill>
              </a:rPr>
              <a:t>Rural Competence Centre for Employment</a:t>
            </a:r>
            <a:endParaRPr lang="en-GB" sz="1800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Oval 6">
            <a:extLst>
              <a:ext uri="{FF2B5EF4-FFF2-40B4-BE49-F238E27FC236}">
                <a16:creationId xmlns:a16="http://schemas.microsoft.com/office/drawing/2014/main" id="{09DA566E-4FBA-4242-9CC8-6B9B178B5CA8}"/>
              </a:ext>
            </a:extLst>
          </p:cNvPr>
          <p:cNvSpPr/>
          <p:nvPr/>
        </p:nvSpPr>
        <p:spPr bwMode="gray">
          <a:xfrm>
            <a:off x="2461354" y="1956100"/>
            <a:ext cx="476505" cy="453624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>
              <a:buClr>
                <a:schemeClr val="tx2"/>
              </a:buClr>
              <a:buSzPct val="80000"/>
            </a:pPr>
            <a:r>
              <a:rPr lang="en-US" dirty="0">
                <a:solidFill>
                  <a:schemeClr val="bg1"/>
                </a:solidFill>
                <a:ea typeface="Verdana"/>
                <a:cs typeface="Verdana"/>
              </a:rPr>
              <a:t>1</a:t>
            </a:r>
          </a:p>
        </p:txBody>
      </p:sp>
      <p:sp>
        <p:nvSpPr>
          <p:cNvPr id="17" name="Oval 6">
            <a:extLst>
              <a:ext uri="{FF2B5EF4-FFF2-40B4-BE49-F238E27FC236}">
                <a16:creationId xmlns:a16="http://schemas.microsoft.com/office/drawing/2014/main" id="{4955BC11-1DC0-4911-A956-F673FC49A666}"/>
              </a:ext>
            </a:extLst>
          </p:cNvPr>
          <p:cNvSpPr/>
          <p:nvPr/>
        </p:nvSpPr>
        <p:spPr bwMode="gray">
          <a:xfrm>
            <a:off x="7425796" y="1956100"/>
            <a:ext cx="476505" cy="453624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>
              <a:buClr>
                <a:schemeClr val="tx2"/>
              </a:buClr>
              <a:buSzPct val="80000"/>
            </a:pPr>
            <a:r>
              <a:rPr lang="en-US" dirty="0">
                <a:solidFill>
                  <a:schemeClr val="bg1"/>
                </a:solidFill>
                <a:ea typeface="Verdana"/>
                <a:cs typeface="Verdana"/>
              </a:rPr>
              <a:t>2</a:t>
            </a:r>
          </a:p>
        </p:txBody>
      </p:sp>
      <p:sp>
        <p:nvSpPr>
          <p:cNvPr id="18" name="Oval 6">
            <a:extLst>
              <a:ext uri="{FF2B5EF4-FFF2-40B4-BE49-F238E27FC236}">
                <a16:creationId xmlns:a16="http://schemas.microsoft.com/office/drawing/2014/main" id="{EFB49AAB-6B74-4D5A-B4C7-BC86C34B0EE3}"/>
              </a:ext>
            </a:extLst>
          </p:cNvPr>
          <p:cNvSpPr/>
          <p:nvPr/>
        </p:nvSpPr>
        <p:spPr bwMode="gray">
          <a:xfrm>
            <a:off x="2417982" y="3919143"/>
            <a:ext cx="476505" cy="453624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>
              <a:buClr>
                <a:schemeClr val="tx2"/>
              </a:buClr>
              <a:buSzPct val="80000"/>
            </a:pPr>
            <a:r>
              <a:rPr lang="en-US" dirty="0">
                <a:solidFill>
                  <a:schemeClr val="bg1"/>
                </a:solidFill>
                <a:ea typeface="Verdana"/>
                <a:cs typeface="Verdana"/>
              </a:rPr>
              <a:t>3</a:t>
            </a:r>
          </a:p>
        </p:txBody>
      </p:sp>
      <p:sp>
        <p:nvSpPr>
          <p:cNvPr id="19" name="Oval 6">
            <a:extLst>
              <a:ext uri="{FF2B5EF4-FFF2-40B4-BE49-F238E27FC236}">
                <a16:creationId xmlns:a16="http://schemas.microsoft.com/office/drawing/2014/main" id="{D1B49823-1023-4744-AD46-8386775F1AF6}"/>
              </a:ext>
            </a:extLst>
          </p:cNvPr>
          <p:cNvSpPr/>
          <p:nvPr/>
        </p:nvSpPr>
        <p:spPr bwMode="gray">
          <a:xfrm>
            <a:off x="7513724" y="3928330"/>
            <a:ext cx="476505" cy="453624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>
              <a:buClr>
                <a:schemeClr val="tx2"/>
              </a:buClr>
              <a:buSzPct val="80000"/>
            </a:pPr>
            <a:r>
              <a:rPr lang="en-US" dirty="0">
                <a:solidFill>
                  <a:schemeClr val="bg1"/>
                </a:solidFill>
                <a:ea typeface="Verdana"/>
                <a:cs typeface="Verdana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254604131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F99B3D2-9F0A-4E47-BB2D-52B45F0AA22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Facilitating FLR Impact Measurement at FI level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1FE9F6B-A14B-40F4-A327-BE626F22BB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D0D6F56-DD73-4336-8644-1544C772E19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983" y="768611"/>
            <a:ext cx="10858732" cy="617737"/>
          </a:xfrm>
        </p:spPr>
        <p:txBody>
          <a:bodyPr/>
          <a:lstStyle/>
          <a:p>
            <a:r>
              <a:rPr lang="en-US" sz="1800" dirty="0"/>
              <a:t>Complexity and novelty of different FLR impact monitoring systems hinder private FLR investments and calls for simplification</a:t>
            </a:r>
          </a:p>
          <a:p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2692BAFA-AB1E-4B3B-A55C-75B92A88D46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62515" y="1449514"/>
            <a:ext cx="5021893" cy="4911329"/>
          </a:xfrm>
        </p:spPr>
        <p:txBody>
          <a:bodyPr/>
          <a:lstStyle/>
          <a:p>
            <a:r>
              <a:rPr lang="de-DE" sz="1500" b="1" dirty="0" err="1">
                <a:solidFill>
                  <a:srgbClr val="00B050"/>
                </a:solidFill>
              </a:rPr>
              <a:t>How</a:t>
            </a:r>
            <a:r>
              <a:rPr lang="de-DE" sz="1500" b="1" dirty="0">
                <a:solidFill>
                  <a:srgbClr val="00B050"/>
                </a:solidFill>
              </a:rPr>
              <a:t> </a:t>
            </a:r>
            <a:r>
              <a:rPr lang="de-DE" sz="1500" b="1" dirty="0" err="1">
                <a:solidFill>
                  <a:srgbClr val="00B050"/>
                </a:solidFill>
              </a:rPr>
              <a:t>to</a:t>
            </a:r>
            <a:r>
              <a:rPr lang="de-DE" sz="1500" b="1" dirty="0">
                <a:solidFill>
                  <a:srgbClr val="00B050"/>
                </a:solidFill>
              </a:rPr>
              <a:t> </a:t>
            </a:r>
            <a:r>
              <a:rPr lang="de-DE" sz="1500" b="1" dirty="0" err="1">
                <a:solidFill>
                  <a:srgbClr val="00B050"/>
                </a:solidFill>
              </a:rPr>
              <a:t>measure</a:t>
            </a:r>
            <a:r>
              <a:rPr lang="de-DE" sz="1500" b="1" dirty="0">
                <a:solidFill>
                  <a:srgbClr val="00B050"/>
                </a:solidFill>
              </a:rPr>
              <a:t> </a:t>
            </a:r>
            <a:r>
              <a:rPr lang="de-DE" sz="1500" b="1" dirty="0" err="1">
                <a:solidFill>
                  <a:srgbClr val="00B050"/>
                </a:solidFill>
              </a:rPr>
              <a:t>impact</a:t>
            </a:r>
            <a:r>
              <a:rPr lang="de-DE" sz="1500" b="1" dirty="0">
                <a:solidFill>
                  <a:srgbClr val="00B050"/>
                </a:solidFill>
              </a:rPr>
              <a:t> </a:t>
            </a:r>
            <a:r>
              <a:rPr lang="de-DE" sz="1500" b="1" dirty="0" err="1">
                <a:solidFill>
                  <a:srgbClr val="00B050"/>
                </a:solidFill>
              </a:rPr>
              <a:t>of</a:t>
            </a:r>
            <a:r>
              <a:rPr lang="de-DE" sz="1500" b="1" dirty="0">
                <a:solidFill>
                  <a:srgbClr val="00B050"/>
                </a:solidFill>
              </a:rPr>
              <a:t> FLR </a:t>
            </a:r>
            <a:r>
              <a:rPr lang="de-DE" sz="1500" b="1" dirty="0" err="1">
                <a:solidFill>
                  <a:srgbClr val="00B050"/>
                </a:solidFill>
              </a:rPr>
              <a:t>investments</a:t>
            </a:r>
            <a:r>
              <a:rPr lang="de-DE" sz="1500" b="1" dirty="0">
                <a:solidFill>
                  <a:srgbClr val="00B050"/>
                </a:solidFill>
              </a:rPr>
              <a:t>?</a:t>
            </a:r>
          </a:p>
          <a:p>
            <a:pPr lvl="1" indent="0">
              <a:buNone/>
            </a:pPr>
            <a:r>
              <a:rPr lang="en-US" sz="1500" b="1" dirty="0"/>
              <a:t>Problem: </a:t>
            </a:r>
            <a:r>
              <a:rPr lang="en-US" sz="1500" dirty="0"/>
              <a:t>FLR impact monitoring is a relatively new area of research and there is </a:t>
            </a:r>
            <a:r>
              <a:rPr lang="en-US" sz="1500" b="1" dirty="0"/>
              <a:t>no common impact framework </a:t>
            </a:r>
            <a:r>
              <a:rPr lang="en-US" sz="1500" dirty="0"/>
              <a:t>available yet</a:t>
            </a:r>
          </a:p>
          <a:p>
            <a:endParaRPr lang="en-US" sz="1500" dirty="0"/>
          </a:p>
          <a:p>
            <a:pPr marL="144000" lvl="2" indent="0">
              <a:buNone/>
            </a:pPr>
            <a:r>
              <a:rPr lang="en-US" sz="1500" b="1" dirty="0"/>
              <a:t>Current reality: </a:t>
            </a:r>
            <a:r>
              <a:rPr lang="en-US" sz="1500" dirty="0"/>
              <a:t>Too many possible indicators, many of which are highly specific and not SMART for the envisaged purpose </a:t>
            </a:r>
            <a:br>
              <a:rPr lang="en-US" sz="1500" dirty="0"/>
            </a:br>
            <a:r>
              <a:rPr lang="en-US" sz="1500" b="1" dirty="0"/>
              <a:t>→ Too complex for local financial institutions!</a:t>
            </a:r>
          </a:p>
          <a:p>
            <a:pPr marL="144000" lvl="2" indent="0">
              <a:buNone/>
            </a:pPr>
            <a:endParaRPr lang="en-US" sz="1500" dirty="0"/>
          </a:p>
          <a:p>
            <a:pPr marL="144000" lvl="2" indent="0">
              <a:buNone/>
            </a:pPr>
            <a:r>
              <a:rPr lang="en-US" sz="1500" b="1" dirty="0"/>
              <a:t>Actual needs</a:t>
            </a:r>
            <a:r>
              <a:rPr lang="en-US" sz="1500" dirty="0"/>
              <a:t>: An open and common FLR Impact Monitoring System with a set of indicators that are: </a:t>
            </a:r>
          </a:p>
          <a:p>
            <a:pPr marL="486900" lvl="2" indent="-342900">
              <a:buFont typeface="+mj-lt"/>
              <a:buAutoNum type="arabicPeriod"/>
            </a:pPr>
            <a:r>
              <a:rPr lang="en-US" sz="1500" dirty="0"/>
              <a:t>SMART (Specific, Measurable, Achievable, Relevant, Time-bound), </a:t>
            </a:r>
          </a:p>
          <a:p>
            <a:pPr marL="486900" lvl="2" indent="-342900">
              <a:buFont typeface="+mj-lt"/>
              <a:buAutoNum type="arabicPeriod"/>
            </a:pPr>
            <a:r>
              <a:rPr lang="en-US" sz="1500" dirty="0"/>
              <a:t>cost-effective and </a:t>
            </a:r>
          </a:p>
          <a:p>
            <a:pPr marL="486900" lvl="2" indent="-342900">
              <a:buFont typeface="+mj-lt"/>
              <a:buAutoNum type="arabicPeriod"/>
            </a:pPr>
            <a:r>
              <a:rPr lang="en-US" sz="1500" dirty="0"/>
              <a:t>contribute to demonstrate financial, environmental and social benefits</a:t>
            </a:r>
          </a:p>
          <a:p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B298DA5-3CD4-4962-9FC2-6653544329B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475077" y="1386348"/>
            <a:ext cx="5021893" cy="4911329"/>
          </a:xfrm>
        </p:spPr>
        <p:txBody>
          <a:bodyPr/>
          <a:lstStyle/>
          <a:p>
            <a:r>
              <a:rPr lang="en-US" sz="1500" b="1" dirty="0">
                <a:solidFill>
                  <a:srgbClr val="00B050"/>
                </a:solidFill>
                <a:latin typeface="Calibri"/>
              </a:rPr>
              <a:t>Schematic selection process for a single indicator</a:t>
            </a:r>
            <a:endParaRPr kumimoji="0" lang="en-GB" sz="15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CF494-3441-4CEC-A4FA-8E2FE451911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de-DE" smtClean="0"/>
              <a:t>5</a:t>
            </a:fld>
            <a:endParaRPr lang="de-DE" dirty="0"/>
          </a:p>
        </p:txBody>
      </p:sp>
      <p:sp>
        <p:nvSpPr>
          <p:cNvPr id="8" name="Rectangle 60">
            <a:extLst>
              <a:ext uri="{FF2B5EF4-FFF2-40B4-BE49-F238E27FC236}">
                <a16:creationId xmlns:a16="http://schemas.microsoft.com/office/drawing/2014/main" id="{3F61D1B9-B201-49E7-B843-AB6D688D5DD9}"/>
              </a:ext>
            </a:extLst>
          </p:cNvPr>
          <p:cNvSpPr/>
          <p:nvPr/>
        </p:nvSpPr>
        <p:spPr bwMode="gray">
          <a:xfrm>
            <a:off x="6415245" y="2228748"/>
            <a:ext cx="5409998" cy="3659459"/>
          </a:xfrm>
          <a:prstGeom prst="rect">
            <a:avLst/>
          </a:prstGeom>
          <a:solidFill>
            <a:srgbClr val="FFFFFF">
              <a:alpha val="27059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>
              <a:buClr>
                <a:schemeClr val="tx2"/>
              </a:buClr>
              <a:buSzPct val="80000"/>
            </a:pPr>
            <a:endParaRPr lang="en-GB" sz="1600" dirty="0" err="1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Right Brace 61">
            <a:extLst>
              <a:ext uri="{FF2B5EF4-FFF2-40B4-BE49-F238E27FC236}">
                <a16:creationId xmlns:a16="http://schemas.microsoft.com/office/drawing/2014/main" id="{120CB030-809D-48C1-8CF9-8A2C503CBA34}"/>
              </a:ext>
            </a:extLst>
          </p:cNvPr>
          <p:cNvSpPr/>
          <p:nvPr/>
        </p:nvSpPr>
        <p:spPr bwMode="gray">
          <a:xfrm flipH="1">
            <a:off x="5995992" y="2324134"/>
            <a:ext cx="378022" cy="3511519"/>
          </a:xfrm>
          <a:prstGeom prst="rightBrace">
            <a:avLst>
              <a:gd name="adj1" fmla="val 8333"/>
              <a:gd name="adj2" fmla="val 35110"/>
            </a:avLst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0" name="Rectangle 16">
            <a:extLst>
              <a:ext uri="{FF2B5EF4-FFF2-40B4-BE49-F238E27FC236}">
                <a16:creationId xmlns:a16="http://schemas.microsoft.com/office/drawing/2014/main" id="{4EB2C5FB-80E9-4EFB-A650-DCB8597E2E6A}"/>
              </a:ext>
            </a:extLst>
          </p:cNvPr>
          <p:cNvSpPr/>
          <p:nvPr/>
        </p:nvSpPr>
        <p:spPr bwMode="gray">
          <a:xfrm>
            <a:off x="8602390" y="2914060"/>
            <a:ext cx="1981200" cy="288000"/>
          </a:xfrm>
          <a:prstGeom prst="rect">
            <a:avLst/>
          </a:prstGeom>
          <a:solidFill>
            <a:srgbClr val="93C11C"/>
          </a:solidFill>
          <a:ln w="6350" cap="flat" cmpd="sng" algn="ctr">
            <a:solidFill>
              <a:srgbClr val="93C11C"/>
            </a:solidFill>
            <a:prstDash val="solid"/>
            <a:miter lim="800000"/>
          </a:ln>
          <a:effectLst/>
        </p:spPr>
        <p:txBody>
          <a:bodyPr lIns="108000" tIns="72000" rIns="108000" bIns="72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C11C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FLR activities/investments 2</a:t>
            </a:r>
            <a:endParaRPr kumimoji="0" lang="en-GB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1" name="Rectangle 17">
            <a:extLst>
              <a:ext uri="{FF2B5EF4-FFF2-40B4-BE49-F238E27FC236}">
                <a16:creationId xmlns:a16="http://schemas.microsoft.com/office/drawing/2014/main" id="{7338E0AB-C157-4A93-960E-9431730742EE}"/>
              </a:ext>
            </a:extLst>
          </p:cNvPr>
          <p:cNvSpPr/>
          <p:nvPr/>
        </p:nvSpPr>
        <p:spPr bwMode="gray">
          <a:xfrm>
            <a:off x="7773009" y="3824745"/>
            <a:ext cx="846396" cy="288000"/>
          </a:xfrm>
          <a:prstGeom prst="rect">
            <a:avLst/>
          </a:prstGeom>
          <a:solidFill>
            <a:srgbClr val="93C11C"/>
          </a:solidFill>
          <a:ln w="6350" cap="flat" cmpd="sng" algn="ctr">
            <a:solidFill>
              <a:srgbClr val="93C11C"/>
            </a:solidFill>
            <a:prstDash val="solid"/>
            <a:miter lim="800000"/>
          </a:ln>
          <a:effectLst/>
        </p:spPr>
        <p:txBody>
          <a:bodyPr lIns="108000" tIns="72000" rIns="108000" bIns="72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C11C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Ecological</a:t>
            </a:r>
            <a:endParaRPr kumimoji="0" lang="en-GB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2" name="Rectangle 18">
            <a:extLst>
              <a:ext uri="{FF2B5EF4-FFF2-40B4-BE49-F238E27FC236}">
                <a16:creationId xmlns:a16="http://schemas.microsoft.com/office/drawing/2014/main" id="{DF6D7203-AFB5-45C6-9A35-23FFCEC8B273}"/>
              </a:ext>
            </a:extLst>
          </p:cNvPr>
          <p:cNvSpPr/>
          <p:nvPr/>
        </p:nvSpPr>
        <p:spPr bwMode="gray">
          <a:xfrm>
            <a:off x="8709874" y="3824745"/>
            <a:ext cx="846396" cy="288000"/>
          </a:xfrm>
          <a:prstGeom prst="rect">
            <a:avLst/>
          </a:prstGeom>
          <a:solidFill>
            <a:srgbClr val="93C11C">
              <a:lumMod val="60000"/>
              <a:lumOff val="40000"/>
            </a:srgbClr>
          </a:solidFill>
          <a:ln w="6350" cap="flat" cmpd="sng" algn="ctr">
            <a:solidFill>
              <a:srgbClr val="93C11C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lIns="108000" tIns="72000" rIns="108000" bIns="72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C11C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Economic</a:t>
            </a:r>
            <a:endParaRPr kumimoji="0" lang="en-GB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3" name="Rectangle 19">
            <a:extLst>
              <a:ext uri="{FF2B5EF4-FFF2-40B4-BE49-F238E27FC236}">
                <a16:creationId xmlns:a16="http://schemas.microsoft.com/office/drawing/2014/main" id="{E4AC82D0-EE1A-4092-8EEC-258A5BD7D77A}"/>
              </a:ext>
            </a:extLst>
          </p:cNvPr>
          <p:cNvSpPr/>
          <p:nvPr/>
        </p:nvSpPr>
        <p:spPr bwMode="gray">
          <a:xfrm>
            <a:off x="10583604" y="3824745"/>
            <a:ext cx="846396" cy="288000"/>
          </a:xfrm>
          <a:prstGeom prst="rect">
            <a:avLst/>
          </a:prstGeom>
          <a:solidFill>
            <a:srgbClr val="93C11C">
              <a:lumMod val="60000"/>
              <a:lumOff val="40000"/>
            </a:srgbClr>
          </a:solidFill>
          <a:ln w="6350" cap="flat" cmpd="sng" algn="ctr">
            <a:solidFill>
              <a:srgbClr val="93C11C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lIns="108000" tIns="72000" rIns="108000" bIns="72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C11C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Political</a:t>
            </a:r>
            <a:endParaRPr kumimoji="0" lang="en-GB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4" name="Rectangle 20">
            <a:extLst>
              <a:ext uri="{FF2B5EF4-FFF2-40B4-BE49-F238E27FC236}">
                <a16:creationId xmlns:a16="http://schemas.microsoft.com/office/drawing/2014/main" id="{E7D0F5AD-2956-433E-971E-0241ECBF85E5}"/>
              </a:ext>
            </a:extLst>
          </p:cNvPr>
          <p:cNvSpPr/>
          <p:nvPr/>
        </p:nvSpPr>
        <p:spPr bwMode="gray">
          <a:xfrm>
            <a:off x="9646739" y="3824745"/>
            <a:ext cx="846396" cy="288000"/>
          </a:xfrm>
          <a:prstGeom prst="rect">
            <a:avLst/>
          </a:prstGeom>
          <a:solidFill>
            <a:srgbClr val="93C11C">
              <a:lumMod val="60000"/>
              <a:lumOff val="40000"/>
            </a:srgbClr>
          </a:solidFill>
          <a:ln w="6350" cap="flat" cmpd="sng" algn="ctr">
            <a:solidFill>
              <a:srgbClr val="93C11C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lIns="108000" tIns="72000" rIns="108000" bIns="72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C11C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Social</a:t>
            </a:r>
            <a:endParaRPr kumimoji="0" lang="en-GB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65" name="Connector: Elbow 21">
            <a:extLst>
              <a:ext uri="{FF2B5EF4-FFF2-40B4-BE49-F238E27FC236}">
                <a16:creationId xmlns:a16="http://schemas.microsoft.com/office/drawing/2014/main" id="{FECFEB0C-AAB7-4C60-8446-759ADBD918E3}"/>
              </a:ext>
            </a:extLst>
          </p:cNvPr>
          <p:cNvCxnSpPr>
            <a:stCxn id="60" idx="2"/>
            <a:endCxn id="61" idx="0"/>
          </p:cNvCxnSpPr>
          <p:nvPr/>
        </p:nvCxnSpPr>
        <p:spPr bwMode="gray">
          <a:xfrm rot="5400000">
            <a:off x="8583257" y="2815011"/>
            <a:ext cx="622685" cy="1396783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93C11C"/>
            </a:solidFill>
            <a:prstDash val="solid"/>
            <a:miter lim="800000"/>
          </a:ln>
          <a:effectLst/>
        </p:spPr>
      </p:cxnSp>
      <p:cxnSp>
        <p:nvCxnSpPr>
          <p:cNvPr id="66" name="Connector: Elbow 22">
            <a:extLst>
              <a:ext uri="{FF2B5EF4-FFF2-40B4-BE49-F238E27FC236}">
                <a16:creationId xmlns:a16="http://schemas.microsoft.com/office/drawing/2014/main" id="{D91EB2B9-6757-42F1-8C90-E65A5D0F38E6}"/>
              </a:ext>
            </a:extLst>
          </p:cNvPr>
          <p:cNvCxnSpPr>
            <a:stCxn id="60" idx="2"/>
            <a:endCxn id="63" idx="0"/>
          </p:cNvCxnSpPr>
          <p:nvPr/>
        </p:nvCxnSpPr>
        <p:spPr bwMode="gray">
          <a:xfrm rot="16200000" flipH="1">
            <a:off x="9988554" y="2806496"/>
            <a:ext cx="622685" cy="1413812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93C11C"/>
            </a:solidFill>
            <a:prstDash val="solid"/>
            <a:miter lim="800000"/>
          </a:ln>
          <a:effectLst/>
        </p:spPr>
      </p:cxnSp>
      <p:cxnSp>
        <p:nvCxnSpPr>
          <p:cNvPr id="67" name="Connector: Elbow 23">
            <a:extLst>
              <a:ext uri="{FF2B5EF4-FFF2-40B4-BE49-F238E27FC236}">
                <a16:creationId xmlns:a16="http://schemas.microsoft.com/office/drawing/2014/main" id="{1161F13D-1AC9-4BD7-82CC-C5EF09AA86C5}"/>
              </a:ext>
            </a:extLst>
          </p:cNvPr>
          <p:cNvCxnSpPr>
            <a:stCxn id="60" idx="2"/>
            <a:endCxn id="62" idx="0"/>
          </p:cNvCxnSpPr>
          <p:nvPr/>
        </p:nvCxnSpPr>
        <p:spPr bwMode="gray">
          <a:xfrm rot="5400000">
            <a:off x="9051689" y="3283443"/>
            <a:ext cx="622685" cy="459918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93C11C"/>
            </a:solidFill>
            <a:prstDash val="solid"/>
            <a:miter lim="800000"/>
          </a:ln>
          <a:effectLst/>
        </p:spPr>
      </p:cxnSp>
      <p:cxnSp>
        <p:nvCxnSpPr>
          <p:cNvPr id="68" name="Connector: Elbow 24">
            <a:extLst>
              <a:ext uri="{FF2B5EF4-FFF2-40B4-BE49-F238E27FC236}">
                <a16:creationId xmlns:a16="http://schemas.microsoft.com/office/drawing/2014/main" id="{32096B16-04A4-4B16-A90B-FA9783DE3FF0}"/>
              </a:ext>
            </a:extLst>
          </p:cNvPr>
          <p:cNvCxnSpPr>
            <a:stCxn id="60" idx="2"/>
            <a:endCxn id="64" idx="0"/>
          </p:cNvCxnSpPr>
          <p:nvPr/>
        </p:nvCxnSpPr>
        <p:spPr bwMode="gray">
          <a:xfrm rot="16200000" flipH="1">
            <a:off x="9520121" y="3274928"/>
            <a:ext cx="622685" cy="476947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93C11C"/>
            </a:solidFill>
            <a:prstDash val="solid"/>
            <a:miter lim="800000"/>
          </a:ln>
          <a:effectLst/>
        </p:spPr>
      </p:cxnSp>
      <p:sp>
        <p:nvSpPr>
          <p:cNvPr id="69" name="Rectangle 25">
            <a:extLst>
              <a:ext uri="{FF2B5EF4-FFF2-40B4-BE49-F238E27FC236}">
                <a16:creationId xmlns:a16="http://schemas.microsoft.com/office/drawing/2014/main" id="{B43039A2-70D1-466E-83B4-2D1D22901CDE}"/>
              </a:ext>
            </a:extLst>
          </p:cNvPr>
          <p:cNvSpPr/>
          <p:nvPr/>
        </p:nvSpPr>
        <p:spPr bwMode="gray">
          <a:xfrm>
            <a:off x="7773009" y="4219242"/>
            <a:ext cx="846396" cy="288000"/>
          </a:xfrm>
          <a:prstGeom prst="rect">
            <a:avLst/>
          </a:prstGeom>
          <a:solidFill>
            <a:srgbClr val="93C11C"/>
          </a:solidFill>
          <a:ln w="6350" cap="flat" cmpd="sng" algn="ctr">
            <a:solidFill>
              <a:srgbClr val="93C11C"/>
            </a:solidFill>
            <a:prstDash val="solid"/>
            <a:miter lim="800000"/>
          </a:ln>
          <a:effectLst/>
        </p:spPr>
        <p:txBody>
          <a:bodyPr lIns="108000" tIns="72000" rIns="108000" bIns="72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C11C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Soil</a:t>
            </a:r>
            <a:endParaRPr kumimoji="0" lang="en-GB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0" name="Rectangle 26">
            <a:extLst>
              <a:ext uri="{FF2B5EF4-FFF2-40B4-BE49-F238E27FC236}">
                <a16:creationId xmlns:a16="http://schemas.microsoft.com/office/drawing/2014/main" id="{54B4074A-8F4F-4F32-AB1D-83B57FE40C65}"/>
              </a:ext>
            </a:extLst>
          </p:cNvPr>
          <p:cNvSpPr/>
          <p:nvPr/>
        </p:nvSpPr>
        <p:spPr bwMode="gray">
          <a:xfrm>
            <a:off x="8709874" y="4219242"/>
            <a:ext cx="846396" cy="288000"/>
          </a:xfrm>
          <a:prstGeom prst="rect">
            <a:avLst/>
          </a:prstGeom>
          <a:solidFill>
            <a:srgbClr val="93C11C">
              <a:lumMod val="60000"/>
              <a:lumOff val="40000"/>
            </a:srgbClr>
          </a:solidFill>
          <a:ln w="6350" cap="flat" cmpd="sng" algn="ctr">
            <a:solidFill>
              <a:srgbClr val="93C11C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lIns="108000" tIns="72000" rIns="108000" bIns="72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C11C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Water</a:t>
            </a:r>
            <a:endParaRPr kumimoji="0" lang="en-GB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1" name="Rectangle 27">
            <a:extLst>
              <a:ext uri="{FF2B5EF4-FFF2-40B4-BE49-F238E27FC236}">
                <a16:creationId xmlns:a16="http://schemas.microsoft.com/office/drawing/2014/main" id="{C1F4B88B-1413-46AB-BC29-F506FD734184}"/>
              </a:ext>
            </a:extLst>
          </p:cNvPr>
          <p:cNvSpPr/>
          <p:nvPr/>
        </p:nvSpPr>
        <p:spPr bwMode="gray">
          <a:xfrm>
            <a:off x="9646739" y="4219242"/>
            <a:ext cx="846396" cy="288000"/>
          </a:xfrm>
          <a:prstGeom prst="rect">
            <a:avLst/>
          </a:prstGeom>
          <a:solidFill>
            <a:srgbClr val="93C11C">
              <a:lumMod val="60000"/>
              <a:lumOff val="40000"/>
            </a:srgbClr>
          </a:solidFill>
          <a:ln w="6350" cap="flat" cmpd="sng" algn="ctr">
            <a:solidFill>
              <a:srgbClr val="93C11C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lIns="108000" tIns="72000" rIns="108000" bIns="72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C11C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Biodiversity</a:t>
            </a:r>
            <a:endParaRPr kumimoji="0" lang="en-GB" sz="1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2" name="Rectangle 28">
            <a:extLst>
              <a:ext uri="{FF2B5EF4-FFF2-40B4-BE49-F238E27FC236}">
                <a16:creationId xmlns:a16="http://schemas.microsoft.com/office/drawing/2014/main" id="{642702A2-1637-421A-964A-1E1C3A9D7EA6}"/>
              </a:ext>
            </a:extLst>
          </p:cNvPr>
          <p:cNvSpPr/>
          <p:nvPr/>
        </p:nvSpPr>
        <p:spPr bwMode="gray">
          <a:xfrm>
            <a:off x="10583604" y="4219242"/>
            <a:ext cx="846396" cy="288000"/>
          </a:xfrm>
          <a:prstGeom prst="rect">
            <a:avLst/>
          </a:prstGeom>
          <a:solidFill>
            <a:srgbClr val="93C11C">
              <a:lumMod val="60000"/>
              <a:lumOff val="40000"/>
            </a:srgbClr>
          </a:solidFill>
          <a:ln w="6350" cap="flat" cmpd="sng" algn="ctr">
            <a:solidFill>
              <a:srgbClr val="93C11C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lIns="108000" tIns="72000" rIns="108000" bIns="72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C11C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Climate</a:t>
            </a:r>
            <a:endParaRPr kumimoji="0" lang="en-GB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3" name="Rectangle 29">
            <a:extLst>
              <a:ext uri="{FF2B5EF4-FFF2-40B4-BE49-F238E27FC236}">
                <a16:creationId xmlns:a16="http://schemas.microsoft.com/office/drawing/2014/main" id="{0BA64AF2-A8DD-4572-AEC9-5B4620691BB6}"/>
              </a:ext>
            </a:extLst>
          </p:cNvPr>
          <p:cNvSpPr/>
          <p:nvPr/>
        </p:nvSpPr>
        <p:spPr bwMode="gray">
          <a:xfrm>
            <a:off x="7773009" y="4652814"/>
            <a:ext cx="846396" cy="288000"/>
          </a:xfrm>
          <a:prstGeom prst="rect">
            <a:avLst/>
          </a:prstGeom>
          <a:solidFill>
            <a:srgbClr val="93C11C">
              <a:lumMod val="60000"/>
              <a:lumOff val="40000"/>
            </a:srgbClr>
          </a:solidFill>
          <a:ln w="6350" cap="flat" cmpd="sng" algn="ctr">
            <a:solidFill>
              <a:srgbClr val="93C11C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lIns="108000" tIns="72000" rIns="108000" bIns="72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C11C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Stability</a:t>
            </a:r>
            <a:endParaRPr kumimoji="0" lang="en-GB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4" name="Rectangle 30">
            <a:extLst>
              <a:ext uri="{FF2B5EF4-FFF2-40B4-BE49-F238E27FC236}">
                <a16:creationId xmlns:a16="http://schemas.microsoft.com/office/drawing/2014/main" id="{9CCAD381-AA11-4B8C-8783-43F136A8B8FB}"/>
              </a:ext>
            </a:extLst>
          </p:cNvPr>
          <p:cNvSpPr/>
          <p:nvPr/>
        </p:nvSpPr>
        <p:spPr bwMode="gray">
          <a:xfrm>
            <a:off x="8709874" y="4652814"/>
            <a:ext cx="846396" cy="288000"/>
          </a:xfrm>
          <a:prstGeom prst="rect">
            <a:avLst/>
          </a:prstGeom>
          <a:solidFill>
            <a:srgbClr val="93C11C"/>
          </a:solidFill>
          <a:ln w="6350" cap="flat" cmpd="sng" algn="ctr">
            <a:solidFill>
              <a:srgbClr val="93C11C"/>
            </a:solidFill>
            <a:prstDash val="solid"/>
            <a:miter lim="800000"/>
          </a:ln>
          <a:effectLst/>
        </p:spPr>
        <p:txBody>
          <a:bodyPr lIns="108000" tIns="72000" rIns="108000" bIns="72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C11C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Quality</a:t>
            </a:r>
            <a:endParaRPr kumimoji="0" lang="en-GB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5" name="Rectangle 31">
            <a:extLst>
              <a:ext uri="{FF2B5EF4-FFF2-40B4-BE49-F238E27FC236}">
                <a16:creationId xmlns:a16="http://schemas.microsoft.com/office/drawing/2014/main" id="{D9282C41-574E-4974-A527-659120058591}"/>
              </a:ext>
            </a:extLst>
          </p:cNvPr>
          <p:cNvSpPr/>
          <p:nvPr/>
        </p:nvSpPr>
        <p:spPr bwMode="gray">
          <a:xfrm>
            <a:off x="9646739" y="4652814"/>
            <a:ext cx="846396" cy="288000"/>
          </a:xfrm>
          <a:prstGeom prst="rect">
            <a:avLst/>
          </a:prstGeom>
          <a:solidFill>
            <a:srgbClr val="93C11C">
              <a:lumMod val="60000"/>
              <a:lumOff val="40000"/>
            </a:srgbClr>
          </a:solidFill>
          <a:ln w="6350" cap="flat" cmpd="sng" algn="ctr">
            <a:solidFill>
              <a:srgbClr val="93C11C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lIns="108000" tIns="72000" rIns="108000" bIns="72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C11C"/>
              </a:buClr>
              <a:buSzPct val="80000"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Management</a:t>
            </a:r>
            <a:endParaRPr kumimoji="0" lang="en-GB" sz="9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6" name="Rectangle 32">
            <a:extLst>
              <a:ext uri="{FF2B5EF4-FFF2-40B4-BE49-F238E27FC236}">
                <a16:creationId xmlns:a16="http://schemas.microsoft.com/office/drawing/2014/main" id="{AD2065AC-588C-428B-9A20-CDA1CD705119}"/>
              </a:ext>
            </a:extLst>
          </p:cNvPr>
          <p:cNvSpPr/>
          <p:nvPr/>
        </p:nvSpPr>
        <p:spPr bwMode="gray">
          <a:xfrm>
            <a:off x="8709874" y="5097226"/>
            <a:ext cx="846396" cy="288000"/>
          </a:xfrm>
          <a:prstGeom prst="rect">
            <a:avLst/>
          </a:prstGeom>
          <a:solidFill>
            <a:srgbClr val="93C11C">
              <a:lumMod val="60000"/>
              <a:lumOff val="40000"/>
            </a:srgbClr>
          </a:solidFill>
          <a:ln w="6350" cap="flat" cmpd="sng" algn="ctr">
            <a:solidFill>
              <a:srgbClr val="93C11C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lIns="108000" tIns="72000" rIns="108000" bIns="72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C11C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Chemical</a:t>
            </a:r>
            <a:endParaRPr kumimoji="0" lang="en-GB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7" name="Rectangle 33">
            <a:extLst>
              <a:ext uri="{FF2B5EF4-FFF2-40B4-BE49-F238E27FC236}">
                <a16:creationId xmlns:a16="http://schemas.microsoft.com/office/drawing/2014/main" id="{4117716A-174B-422C-B972-8A9D587CD707}"/>
              </a:ext>
            </a:extLst>
          </p:cNvPr>
          <p:cNvSpPr/>
          <p:nvPr/>
        </p:nvSpPr>
        <p:spPr bwMode="gray">
          <a:xfrm>
            <a:off x="9646739" y="5097226"/>
            <a:ext cx="846396" cy="288000"/>
          </a:xfrm>
          <a:prstGeom prst="rect">
            <a:avLst/>
          </a:prstGeom>
          <a:solidFill>
            <a:srgbClr val="93C11C"/>
          </a:solidFill>
          <a:ln w="6350" cap="flat" cmpd="sng" algn="ctr">
            <a:solidFill>
              <a:srgbClr val="93C11C"/>
            </a:solidFill>
            <a:prstDash val="solid"/>
            <a:miter lim="800000"/>
          </a:ln>
          <a:effectLst/>
        </p:spPr>
        <p:txBody>
          <a:bodyPr lIns="108000" tIns="72000" rIns="108000" bIns="72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C11C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Biological</a:t>
            </a:r>
            <a:endParaRPr kumimoji="0" lang="en-GB" sz="11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8" name="Rectangle 34">
            <a:extLst>
              <a:ext uri="{FF2B5EF4-FFF2-40B4-BE49-F238E27FC236}">
                <a16:creationId xmlns:a16="http://schemas.microsoft.com/office/drawing/2014/main" id="{D8155AB2-DC95-403F-99FF-B9C0CCABE324}"/>
              </a:ext>
            </a:extLst>
          </p:cNvPr>
          <p:cNvSpPr/>
          <p:nvPr/>
        </p:nvSpPr>
        <p:spPr bwMode="gray">
          <a:xfrm>
            <a:off x="7773009" y="5097226"/>
            <a:ext cx="846396" cy="288000"/>
          </a:xfrm>
          <a:prstGeom prst="rect">
            <a:avLst/>
          </a:prstGeom>
          <a:solidFill>
            <a:srgbClr val="93C11C">
              <a:lumMod val="60000"/>
              <a:lumOff val="40000"/>
            </a:srgbClr>
          </a:solidFill>
          <a:ln w="6350" cap="flat" cmpd="sng" algn="ctr">
            <a:solidFill>
              <a:srgbClr val="93C11C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lIns="108000" tIns="72000" rIns="108000" bIns="72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C11C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Physical</a:t>
            </a:r>
            <a:endParaRPr kumimoji="0" lang="en-GB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9" name="Rectangle 35">
            <a:extLst>
              <a:ext uri="{FF2B5EF4-FFF2-40B4-BE49-F238E27FC236}">
                <a16:creationId xmlns:a16="http://schemas.microsoft.com/office/drawing/2014/main" id="{4EF0D472-2E9C-4ECA-9957-5280C9CAD04B}"/>
              </a:ext>
            </a:extLst>
          </p:cNvPr>
          <p:cNvSpPr/>
          <p:nvPr/>
        </p:nvSpPr>
        <p:spPr bwMode="gray">
          <a:xfrm>
            <a:off x="7773009" y="5547654"/>
            <a:ext cx="846396" cy="288000"/>
          </a:xfrm>
          <a:prstGeom prst="rect">
            <a:avLst/>
          </a:prstGeom>
          <a:solidFill>
            <a:srgbClr val="93C11C">
              <a:lumMod val="60000"/>
              <a:lumOff val="40000"/>
            </a:srgbClr>
          </a:solidFill>
          <a:ln w="6350" cap="flat" cmpd="sng" algn="ctr">
            <a:solidFill>
              <a:srgbClr val="93C11C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lIns="108000" tIns="72000" rIns="108000" bIns="72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C11C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Earthworms</a:t>
            </a:r>
            <a:endParaRPr kumimoji="0" lang="en-GB" sz="1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0" name="Rectangle 36">
            <a:extLst>
              <a:ext uri="{FF2B5EF4-FFF2-40B4-BE49-F238E27FC236}">
                <a16:creationId xmlns:a16="http://schemas.microsoft.com/office/drawing/2014/main" id="{C3FD26A1-5BEE-4EB6-BD89-527D85FEC068}"/>
              </a:ext>
            </a:extLst>
          </p:cNvPr>
          <p:cNvSpPr/>
          <p:nvPr/>
        </p:nvSpPr>
        <p:spPr bwMode="gray">
          <a:xfrm>
            <a:off x="8709874" y="5547654"/>
            <a:ext cx="846396" cy="288000"/>
          </a:xfrm>
          <a:prstGeom prst="rect">
            <a:avLst/>
          </a:prstGeom>
          <a:solidFill>
            <a:srgbClr val="93C11C">
              <a:lumMod val="60000"/>
              <a:lumOff val="40000"/>
            </a:srgbClr>
          </a:solidFill>
          <a:ln w="6350" cap="flat" cmpd="sng" algn="ctr">
            <a:solidFill>
              <a:srgbClr val="93C11C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lIns="108000" tIns="72000" rIns="108000" bIns="72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C11C"/>
              </a:buClr>
              <a:buSzPct val="80000"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Soil Enzymes</a:t>
            </a:r>
            <a:endParaRPr kumimoji="0" lang="en-GB" sz="9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1" name="Rectangle 37">
            <a:extLst>
              <a:ext uri="{FF2B5EF4-FFF2-40B4-BE49-F238E27FC236}">
                <a16:creationId xmlns:a16="http://schemas.microsoft.com/office/drawing/2014/main" id="{C80C6DBA-3D20-4967-B8F4-0F80781DD9B0}"/>
              </a:ext>
            </a:extLst>
          </p:cNvPr>
          <p:cNvSpPr/>
          <p:nvPr/>
        </p:nvSpPr>
        <p:spPr bwMode="gray">
          <a:xfrm>
            <a:off x="9646739" y="5547654"/>
            <a:ext cx="846396" cy="288000"/>
          </a:xfrm>
          <a:prstGeom prst="rect">
            <a:avLst/>
          </a:prstGeom>
          <a:solidFill>
            <a:srgbClr val="93C11C"/>
          </a:solidFill>
          <a:ln w="6350" cap="flat" cmpd="sng" algn="ctr">
            <a:solidFill>
              <a:srgbClr val="93C11C"/>
            </a:solidFill>
            <a:prstDash val="solid"/>
            <a:miter lim="800000"/>
          </a:ln>
          <a:effectLst/>
        </p:spPr>
        <p:txBody>
          <a:bodyPr lIns="108000" tIns="72000" rIns="108000" bIns="72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C11C"/>
              </a:buClr>
              <a:buSzPct val="80000"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Total organic Carbon</a:t>
            </a:r>
            <a:endParaRPr kumimoji="0" lang="en-GB" sz="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2" name="Rectangle 38">
            <a:extLst>
              <a:ext uri="{FF2B5EF4-FFF2-40B4-BE49-F238E27FC236}">
                <a16:creationId xmlns:a16="http://schemas.microsoft.com/office/drawing/2014/main" id="{573824C4-96A5-44DA-BE4C-2EA8FA152020}"/>
              </a:ext>
            </a:extLst>
          </p:cNvPr>
          <p:cNvSpPr/>
          <p:nvPr/>
        </p:nvSpPr>
        <p:spPr bwMode="gray">
          <a:xfrm>
            <a:off x="10583604" y="5547654"/>
            <a:ext cx="846396" cy="288000"/>
          </a:xfrm>
          <a:prstGeom prst="rect">
            <a:avLst/>
          </a:prstGeom>
          <a:solidFill>
            <a:srgbClr val="93C11C">
              <a:lumMod val="60000"/>
              <a:lumOff val="40000"/>
            </a:srgbClr>
          </a:solidFill>
          <a:ln w="6350" cap="flat" cmpd="sng" algn="ctr">
            <a:solidFill>
              <a:srgbClr val="93C11C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lIns="108000" tIns="72000" rIns="108000" bIns="72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C11C"/>
              </a:buClr>
              <a:buSzPct val="80000"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Many more….</a:t>
            </a:r>
            <a:endParaRPr kumimoji="0" lang="en-GB" sz="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83" name="Straight Connector 39">
            <a:extLst>
              <a:ext uri="{FF2B5EF4-FFF2-40B4-BE49-F238E27FC236}">
                <a16:creationId xmlns:a16="http://schemas.microsoft.com/office/drawing/2014/main" id="{3D1776EB-7004-4103-BD9C-D772A65C4D7C}"/>
              </a:ext>
            </a:extLst>
          </p:cNvPr>
          <p:cNvCxnSpPr>
            <a:stCxn id="61" idx="2"/>
            <a:endCxn id="69" idx="0"/>
          </p:cNvCxnSpPr>
          <p:nvPr/>
        </p:nvCxnSpPr>
        <p:spPr bwMode="gray">
          <a:xfrm>
            <a:off x="8196207" y="4112745"/>
            <a:ext cx="0" cy="106497"/>
          </a:xfrm>
          <a:prstGeom prst="line">
            <a:avLst/>
          </a:prstGeom>
          <a:noFill/>
          <a:ln w="19050" cap="flat" cmpd="sng" algn="ctr">
            <a:solidFill>
              <a:srgbClr val="93C11C"/>
            </a:solidFill>
            <a:prstDash val="solid"/>
            <a:miter lim="800000"/>
          </a:ln>
          <a:effectLst/>
        </p:spPr>
      </p:cxnSp>
      <p:cxnSp>
        <p:nvCxnSpPr>
          <p:cNvPr id="84" name="Straight Connector 40">
            <a:extLst>
              <a:ext uri="{FF2B5EF4-FFF2-40B4-BE49-F238E27FC236}">
                <a16:creationId xmlns:a16="http://schemas.microsoft.com/office/drawing/2014/main" id="{9DCF349E-C8BC-48E4-83C3-6F4038D18698}"/>
              </a:ext>
            </a:extLst>
          </p:cNvPr>
          <p:cNvCxnSpPr>
            <a:stCxn id="69" idx="2"/>
            <a:endCxn id="73" idx="0"/>
          </p:cNvCxnSpPr>
          <p:nvPr/>
        </p:nvCxnSpPr>
        <p:spPr bwMode="gray">
          <a:xfrm>
            <a:off x="8196207" y="4507242"/>
            <a:ext cx="0" cy="145572"/>
          </a:xfrm>
          <a:prstGeom prst="line">
            <a:avLst/>
          </a:prstGeom>
          <a:noFill/>
          <a:ln w="6350" cap="flat" cmpd="sng" algn="ctr">
            <a:solidFill>
              <a:srgbClr val="93C11C"/>
            </a:solidFill>
            <a:prstDash val="solid"/>
            <a:miter lim="800000"/>
          </a:ln>
          <a:effectLst/>
        </p:spPr>
      </p:cxnSp>
      <p:cxnSp>
        <p:nvCxnSpPr>
          <p:cNvPr id="85" name="Connector: Elbow 41">
            <a:extLst>
              <a:ext uri="{FF2B5EF4-FFF2-40B4-BE49-F238E27FC236}">
                <a16:creationId xmlns:a16="http://schemas.microsoft.com/office/drawing/2014/main" id="{3F3440BC-643D-46AD-8A24-FE7809F7FDEE}"/>
              </a:ext>
            </a:extLst>
          </p:cNvPr>
          <p:cNvCxnSpPr>
            <a:stCxn id="61" idx="2"/>
            <a:endCxn id="70" idx="0"/>
          </p:cNvCxnSpPr>
          <p:nvPr/>
        </p:nvCxnSpPr>
        <p:spPr bwMode="gray">
          <a:xfrm rot="16200000" flipH="1">
            <a:off x="8611391" y="3697560"/>
            <a:ext cx="106497" cy="936865"/>
          </a:xfrm>
          <a:prstGeom prst="bentConnector3">
            <a:avLst/>
          </a:prstGeom>
          <a:noFill/>
          <a:ln w="6350" cap="flat" cmpd="sng" algn="ctr">
            <a:solidFill>
              <a:srgbClr val="93C11C"/>
            </a:solidFill>
            <a:prstDash val="solid"/>
            <a:miter lim="800000"/>
          </a:ln>
          <a:effectLst/>
        </p:spPr>
      </p:cxnSp>
      <p:cxnSp>
        <p:nvCxnSpPr>
          <p:cNvPr id="86" name="Connector: Elbow 42">
            <a:extLst>
              <a:ext uri="{FF2B5EF4-FFF2-40B4-BE49-F238E27FC236}">
                <a16:creationId xmlns:a16="http://schemas.microsoft.com/office/drawing/2014/main" id="{4553CA5F-719C-45AD-B03C-1BCF927BC8D8}"/>
              </a:ext>
            </a:extLst>
          </p:cNvPr>
          <p:cNvCxnSpPr>
            <a:stCxn id="61" idx="2"/>
            <a:endCxn id="71" idx="0"/>
          </p:cNvCxnSpPr>
          <p:nvPr/>
        </p:nvCxnSpPr>
        <p:spPr bwMode="gray">
          <a:xfrm rot="16200000" flipH="1">
            <a:off x="9079824" y="3229128"/>
            <a:ext cx="106497" cy="1873730"/>
          </a:xfrm>
          <a:prstGeom prst="bentConnector3">
            <a:avLst/>
          </a:prstGeom>
          <a:noFill/>
          <a:ln w="6350" cap="flat" cmpd="sng" algn="ctr">
            <a:solidFill>
              <a:srgbClr val="93C11C"/>
            </a:solidFill>
            <a:prstDash val="solid"/>
            <a:miter lim="800000"/>
          </a:ln>
          <a:effectLst/>
        </p:spPr>
      </p:cxnSp>
      <p:cxnSp>
        <p:nvCxnSpPr>
          <p:cNvPr id="87" name="Connector: Elbow 43">
            <a:extLst>
              <a:ext uri="{FF2B5EF4-FFF2-40B4-BE49-F238E27FC236}">
                <a16:creationId xmlns:a16="http://schemas.microsoft.com/office/drawing/2014/main" id="{CF2C6772-B02D-4FF0-B63B-7994329E7B22}"/>
              </a:ext>
            </a:extLst>
          </p:cNvPr>
          <p:cNvCxnSpPr>
            <a:cxnSpLocks/>
            <a:stCxn id="61" idx="2"/>
            <a:endCxn id="72" idx="0"/>
          </p:cNvCxnSpPr>
          <p:nvPr/>
        </p:nvCxnSpPr>
        <p:spPr bwMode="gray">
          <a:xfrm rot="16200000" flipH="1">
            <a:off x="9548256" y="2760695"/>
            <a:ext cx="106497" cy="2810595"/>
          </a:xfrm>
          <a:prstGeom prst="bentConnector3">
            <a:avLst/>
          </a:prstGeom>
          <a:noFill/>
          <a:ln w="6350" cap="flat" cmpd="sng" algn="ctr">
            <a:solidFill>
              <a:srgbClr val="93C11C"/>
            </a:solidFill>
            <a:prstDash val="solid"/>
            <a:miter lim="800000"/>
          </a:ln>
          <a:effectLst/>
        </p:spPr>
      </p:cxnSp>
      <p:cxnSp>
        <p:nvCxnSpPr>
          <p:cNvPr id="88" name="Connector: Elbow 44">
            <a:extLst>
              <a:ext uri="{FF2B5EF4-FFF2-40B4-BE49-F238E27FC236}">
                <a16:creationId xmlns:a16="http://schemas.microsoft.com/office/drawing/2014/main" id="{539F3295-D416-4C73-BA6C-F2B9B7F57856}"/>
              </a:ext>
            </a:extLst>
          </p:cNvPr>
          <p:cNvCxnSpPr>
            <a:cxnSpLocks/>
          </p:cNvCxnSpPr>
          <p:nvPr/>
        </p:nvCxnSpPr>
        <p:spPr bwMode="gray">
          <a:xfrm rot="16200000" flipH="1">
            <a:off x="8591854" y="4111596"/>
            <a:ext cx="145572" cy="936865"/>
          </a:xfrm>
          <a:prstGeom prst="bentConnector3">
            <a:avLst/>
          </a:prstGeom>
          <a:noFill/>
          <a:ln w="19050" cap="flat" cmpd="sng" algn="ctr">
            <a:solidFill>
              <a:srgbClr val="93C11C"/>
            </a:solidFill>
            <a:prstDash val="solid"/>
            <a:miter lim="800000"/>
          </a:ln>
          <a:effectLst/>
        </p:spPr>
      </p:cxnSp>
      <p:cxnSp>
        <p:nvCxnSpPr>
          <p:cNvPr id="89" name="Connector: Elbow 45">
            <a:extLst>
              <a:ext uri="{FF2B5EF4-FFF2-40B4-BE49-F238E27FC236}">
                <a16:creationId xmlns:a16="http://schemas.microsoft.com/office/drawing/2014/main" id="{35FD7670-B4E5-46A7-8F2C-B186DFCF14D4}"/>
              </a:ext>
            </a:extLst>
          </p:cNvPr>
          <p:cNvCxnSpPr>
            <a:stCxn id="69" idx="2"/>
            <a:endCxn id="75" idx="0"/>
          </p:cNvCxnSpPr>
          <p:nvPr/>
        </p:nvCxnSpPr>
        <p:spPr bwMode="gray">
          <a:xfrm rot="16200000" flipH="1">
            <a:off x="9060286" y="3643163"/>
            <a:ext cx="145572" cy="1873730"/>
          </a:xfrm>
          <a:prstGeom prst="bentConnector3">
            <a:avLst/>
          </a:prstGeom>
          <a:noFill/>
          <a:ln w="6350" cap="flat" cmpd="sng" algn="ctr">
            <a:solidFill>
              <a:srgbClr val="93C11C"/>
            </a:solidFill>
            <a:prstDash val="solid"/>
            <a:miter lim="800000"/>
          </a:ln>
          <a:effectLst/>
        </p:spPr>
      </p:cxnSp>
      <p:cxnSp>
        <p:nvCxnSpPr>
          <p:cNvPr id="90" name="Connector: Elbow 46">
            <a:extLst>
              <a:ext uri="{FF2B5EF4-FFF2-40B4-BE49-F238E27FC236}">
                <a16:creationId xmlns:a16="http://schemas.microsoft.com/office/drawing/2014/main" id="{1860E3D5-8499-420F-A7A1-6E131F9BDDAE}"/>
              </a:ext>
            </a:extLst>
          </p:cNvPr>
          <p:cNvCxnSpPr>
            <a:stCxn id="74" idx="2"/>
            <a:endCxn id="78" idx="0"/>
          </p:cNvCxnSpPr>
          <p:nvPr/>
        </p:nvCxnSpPr>
        <p:spPr bwMode="gray">
          <a:xfrm rot="5400000">
            <a:off x="8586434" y="4550588"/>
            <a:ext cx="156412" cy="936865"/>
          </a:xfrm>
          <a:prstGeom prst="bentConnector3">
            <a:avLst/>
          </a:prstGeom>
          <a:noFill/>
          <a:ln w="6350" cap="flat" cmpd="sng" algn="ctr">
            <a:solidFill>
              <a:srgbClr val="93C11C"/>
            </a:solidFill>
            <a:prstDash val="solid"/>
            <a:miter lim="800000"/>
          </a:ln>
          <a:effectLst/>
        </p:spPr>
      </p:cxnSp>
      <p:cxnSp>
        <p:nvCxnSpPr>
          <p:cNvPr id="91" name="Connector: Elbow 47">
            <a:extLst>
              <a:ext uri="{FF2B5EF4-FFF2-40B4-BE49-F238E27FC236}">
                <a16:creationId xmlns:a16="http://schemas.microsoft.com/office/drawing/2014/main" id="{D14409CC-DE8D-45D8-BDBD-1CF956690C2B}"/>
              </a:ext>
            </a:extLst>
          </p:cNvPr>
          <p:cNvCxnSpPr>
            <a:stCxn id="74" idx="2"/>
            <a:endCxn id="77" idx="0"/>
          </p:cNvCxnSpPr>
          <p:nvPr/>
        </p:nvCxnSpPr>
        <p:spPr bwMode="gray">
          <a:xfrm rot="16200000" flipH="1">
            <a:off x="9523298" y="4550587"/>
            <a:ext cx="156412" cy="936865"/>
          </a:xfrm>
          <a:prstGeom prst="bentConnector3">
            <a:avLst/>
          </a:prstGeom>
          <a:noFill/>
          <a:ln w="19050" cap="flat" cmpd="sng" algn="ctr">
            <a:solidFill>
              <a:srgbClr val="93C11C"/>
            </a:solidFill>
            <a:prstDash val="solid"/>
            <a:miter lim="800000"/>
          </a:ln>
          <a:effectLst/>
        </p:spPr>
      </p:cxnSp>
      <p:cxnSp>
        <p:nvCxnSpPr>
          <p:cNvPr id="92" name="Connector: Elbow 48">
            <a:extLst>
              <a:ext uri="{FF2B5EF4-FFF2-40B4-BE49-F238E27FC236}">
                <a16:creationId xmlns:a16="http://schemas.microsoft.com/office/drawing/2014/main" id="{47E27112-87E1-403F-8BF5-D18FE6B9067E}"/>
              </a:ext>
            </a:extLst>
          </p:cNvPr>
          <p:cNvCxnSpPr>
            <a:stCxn id="77" idx="2"/>
            <a:endCxn id="82" idx="0"/>
          </p:cNvCxnSpPr>
          <p:nvPr/>
        </p:nvCxnSpPr>
        <p:spPr bwMode="gray">
          <a:xfrm rot="16200000" flipH="1">
            <a:off x="10457155" y="4998007"/>
            <a:ext cx="162428" cy="936865"/>
          </a:xfrm>
          <a:prstGeom prst="bentConnector3">
            <a:avLst/>
          </a:prstGeom>
          <a:noFill/>
          <a:ln w="6350" cap="flat" cmpd="sng" algn="ctr">
            <a:solidFill>
              <a:srgbClr val="93C11C"/>
            </a:solidFill>
            <a:prstDash val="solid"/>
            <a:miter lim="800000"/>
          </a:ln>
          <a:effectLst/>
        </p:spPr>
      </p:cxnSp>
      <p:cxnSp>
        <p:nvCxnSpPr>
          <p:cNvPr id="93" name="Connector: Elbow 49">
            <a:extLst>
              <a:ext uri="{FF2B5EF4-FFF2-40B4-BE49-F238E27FC236}">
                <a16:creationId xmlns:a16="http://schemas.microsoft.com/office/drawing/2014/main" id="{255B7CAC-67D4-4CD0-95C0-BC4BF41211AD}"/>
              </a:ext>
            </a:extLst>
          </p:cNvPr>
          <p:cNvCxnSpPr>
            <a:stCxn id="77" idx="2"/>
            <a:endCxn id="80" idx="0"/>
          </p:cNvCxnSpPr>
          <p:nvPr/>
        </p:nvCxnSpPr>
        <p:spPr bwMode="gray">
          <a:xfrm rot="5400000">
            <a:off x="9520291" y="4998008"/>
            <a:ext cx="162428" cy="936865"/>
          </a:xfrm>
          <a:prstGeom prst="bentConnector3">
            <a:avLst/>
          </a:prstGeom>
          <a:noFill/>
          <a:ln w="6350" cap="flat" cmpd="sng" algn="ctr">
            <a:solidFill>
              <a:srgbClr val="93C11C"/>
            </a:solidFill>
            <a:prstDash val="solid"/>
            <a:miter lim="800000"/>
          </a:ln>
          <a:effectLst/>
        </p:spPr>
      </p:cxnSp>
      <p:cxnSp>
        <p:nvCxnSpPr>
          <p:cNvPr id="94" name="Connector: Elbow 50">
            <a:extLst>
              <a:ext uri="{FF2B5EF4-FFF2-40B4-BE49-F238E27FC236}">
                <a16:creationId xmlns:a16="http://schemas.microsoft.com/office/drawing/2014/main" id="{CB3C1D74-4E64-4192-B7E4-639C7688D1D6}"/>
              </a:ext>
            </a:extLst>
          </p:cNvPr>
          <p:cNvCxnSpPr>
            <a:stCxn id="77" idx="2"/>
            <a:endCxn id="79" idx="0"/>
          </p:cNvCxnSpPr>
          <p:nvPr/>
        </p:nvCxnSpPr>
        <p:spPr bwMode="gray">
          <a:xfrm rot="5400000">
            <a:off x="9051858" y="4529575"/>
            <a:ext cx="162428" cy="1873730"/>
          </a:xfrm>
          <a:prstGeom prst="bentConnector3">
            <a:avLst/>
          </a:prstGeom>
          <a:noFill/>
          <a:ln w="6350" cap="flat" cmpd="sng" algn="ctr">
            <a:solidFill>
              <a:srgbClr val="93C11C"/>
            </a:solidFill>
            <a:prstDash val="solid"/>
            <a:miter lim="800000"/>
          </a:ln>
          <a:effectLst/>
        </p:spPr>
      </p:cxnSp>
      <p:cxnSp>
        <p:nvCxnSpPr>
          <p:cNvPr id="95" name="Straight Connector 51">
            <a:extLst>
              <a:ext uri="{FF2B5EF4-FFF2-40B4-BE49-F238E27FC236}">
                <a16:creationId xmlns:a16="http://schemas.microsoft.com/office/drawing/2014/main" id="{8BB8DD46-A342-4263-812D-011015D59126}"/>
              </a:ext>
            </a:extLst>
          </p:cNvPr>
          <p:cNvCxnSpPr>
            <a:stCxn id="74" idx="2"/>
            <a:endCxn id="76" idx="0"/>
          </p:cNvCxnSpPr>
          <p:nvPr/>
        </p:nvCxnSpPr>
        <p:spPr bwMode="gray">
          <a:xfrm>
            <a:off x="9133072" y="4940814"/>
            <a:ext cx="0" cy="156412"/>
          </a:xfrm>
          <a:prstGeom prst="line">
            <a:avLst/>
          </a:prstGeom>
          <a:noFill/>
          <a:ln w="6350" cap="flat" cmpd="sng" algn="ctr">
            <a:solidFill>
              <a:srgbClr val="93C11C"/>
            </a:solidFill>
            <a:prstDash val="solid"/>
            <a:miter lim="800000"/>
          </a:ln>
          <a:effectLst/>
        </p:spPr>
      </p:cxnSp>
      <p:cxnSp>
        <p:nvCxnSpPr>
          <p:cNvPr id="96" name="Straight Connector 52">
            <a:extLst>
              <a:ext uri="{FF2B5EF4-FFF2-40B4-BE49-F238E27FC236}">
                <a16:creationId xmlns:a16="http://schemas.microsoft.com/office/drawing/2014/main" id="{6C3DC89D-44BB-4ECA-9054-E71CE5928901}"/>
              </a:ext>
            </a:extLst>
          </p:cNvPr>
          <p:cNvCxnSpPr>
            <a:stCxn id="77" idx="2"/>
            <a:endCxn id="81" idx="0"/>
          </p:cNvCxnSpPr>
          <p:nvPr/>
        </p:nvCxnSpPr>
        <p:spPr bwMode="gray">
          <a:xfrm>
            <a:off x="10069937" y="5385226"/>
            <a:ext cx="0" cy="162428"/>
          </a:xfrm>
          <a:prstGeom prst="line">
            <a:avLst/>
          </a:prstGeom>
          <a:noFill/>
          <a:ln w="19050" cap="flat" cmpd="sng" algn="ctr">
            <a:solidFill>
              <a:srgbClr val="93C11C"/>
            </a:solidFill>
            <a:prstDash val="solid"/>
            <a:miter lim="800000"/>
          </a:ln>
          <a:effectLst/>
        </p:spPr>
      </p:cxnSp>
      <p:sp>
        <p:nvSpPr>
          <p:cNvPr id="97" name="Rectangle 53">
            <a:extLst>
              <a:ext uri="{FF2B5EF4-FFF2-40B4-BE49-F238E27FC236}">
                <a16:creationId xmlns:a16="http://schemas.microsoft.com/office/drawing/2014/main" id="{BA5CF094-F525-41C6-B4F7-0445A55C7F73}"/>
              </a:ext>
            </a:extLst>
          </p:cNvPr>
          <p:cNvSpPr/>
          <p:nvPr/>
        </p:nvSpPr>
        <p:spPr>
          <a:xfrm>
            <a:off x="8996882" y="3330598"/>
            <a:ext cx="1199367" cy="253916"/>
          </a:xfrm>
          <a:prstGeom prst="rect">
            <a:avLst/>
          </a:prstGeom>
          <a:solidFill>
            <a:sysClr val="window" lastClr="FFFFFF"/>
          </a:solidFill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</a:rPr>
              <a:t>Potential effect on</a:t>
            </a: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98" name="Rectangle 54">
            <a:extLst>
              <a:ext uri="{FF2B5EF4-FFF2-40B4-BE49-F238E27FC236}">
                <a16:creationId xmlns:a16="http://schemas.microsoft.com/office/drawing/2014/main" id="{8DD8C603-308B-488E-ADF2-24FF87719E35}"/>
              </a:ext>
            </a:extLst>
          </p:cNvPr>
          <p:cNvSpPr/>
          <p:nvPr/>
        </p:nvSpPr>
        <p:spPr>
          <a:xfrm>
            <a:off x="6729864" y="5564696"/>
            <a:ext cx="962123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</a:rPr>
              <a:t>Final Indicator</a:t>
            </a: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99" name="Rectangle 55">
            <a:extLst>
              <a:ext uri="{FF2B5EF4-FFF2-40B4-BE49-F238E27FC236}">
                <a16:creationId xmlns:a16="http://schemas.microsoft.com/office/drawing/2014/main" id="{4D152656-D3DF-493F-A356-6CECB02945CF}"/>
              </a:ext>
            </a:extLst>
          </p:cNvPr>
          <p:cNvSpPr/>
          <p:nvPr/>
        </p:nvSpPr>
        <p:spPr>
          <a:xfrm>
            <a:off x="6826846" y="3839093"/>
            <a:ext cx="768159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</a:rPr>
              <a:t>Dimension</a:t>
            </a: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00" name="Rectangle 56">
            <a:extLst>
              <a:ext uri="{FF2B5EF4-FFF2-40B4-BE49-F238E27FC236}">
                <a16:creationId xmlns:a16="http://schemas.microsoft.com/office/drawing/2014/main" id="{A6599082-D2B5-4B7C-B0A0-7828B5854FC6}"/>
              </a:ext>
            </a:extLst>
          </p:cNvPr>
          <p:cNvSpPr/>
          <p:nvPr/>
        </p:nvSpPr>
        <p:spPr>
          <a:xfrm>
            <a:off x="6668950" y="4270494"/>
            <a:ext cx="1083951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</a:rPr>
              <a:t>Impact Category</a:t>
            </a: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01" name="Rectangle 57">
            <a:extLst>
              <a:ext uri="{FF2B5EF4-FFF2-40B4-BE49-F238E27FC236}">
                <a16:creationId xmlns:a16="http://schemas.microsoft.com/office/drawing/2014/main" id="{8B1341BC-178A-436B-BECE-4625F85CF157}"/>
              </a:ext>
            </a:extLst>
          </p:cNvPr>
          <p:cNvSpPr/>
          <p:nvPr/>
        </p:nvSpPr>
        <p:spPr>
          <a:xfrm>
            <a:off x="6757917" y="4701895"/>
            <a:ext cx="906017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</a:rPr>
              <a:t>Sub-category</a:t>
            </a: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02" name="Rectangle 58">
            <a:extLst>
              <a:ext uri="{FF2B5EF4-FFF2-40B4-BE49-F238E27FC236}">
                <a16:creationId xmlns:a16="http://schemas.microsoft.com/office/drawing/2014/main" id="{065E000D-0D07-419C-94EC-1C9E746C3FD2}"/>
              </a:ext>
            </a:extLst>
          </p:cNvPr>
          <p:cNvSpPr/>
          <p:nvPr/>
        </p:nvSpPr>
        <p:spPr>
          <a:xfrm>
            <a:off x="6640096" y="5133296"/>
            <a:ext cx="1141659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</a:rPr>
              <a:t>Sub-sub-category</a:t>
            </a: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03" name="Rectangle 62">
            <a:extLst>
              <a:ext uri="{FF2B5EF4-FFF2-40B4-BE49-F238E27FC236}">
                <a16:creationId xmlns:a16="http://schemas.microsoft.com/office/drawing/2014/main" id="{74D035FA-50B5-4E8D-A976-6EE39EF3487B}"/>
              </a:ext>
            </a:extLst>
          </p:cNvPr>
          <p:cNvSpPr/>
          <p:nvPr/>
        </p:nvSpPr>
        <p:spPr bwMode="gray">
          <a:xfrm>
            <a:off x="6502612" y="2347503"/>
            <a:ext cx="4080977" cy="288000"/>
          </a:xfrm>
          <a:prstGeom prst="rect">
            <a:avLst/>
          </a:prstGeom>
          <a:solidFill>
            <a:srgbClr val="93C11C"/>
          </a:solidFill>
          <a:ln w="6350" cap="flat" cmpd="sng" algn="ctr">
            <a:solidFill>
              <a:srgbClr val="93C11C"/>
            </a:solidFill>
            <a:prstDash val="solid"/>
            <a:miter lim="800000"/>
          </a:ln>
          <a:effectLst/>
        </p:spPr>
        <p:txBody>
          <a:bodyPr lIns="108000" tIns="72000" rIns="108000" bIns="72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C11C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Restoration target: Restore biodiversity  &amp; eco-system services</a:t>
            </a:r>
            <a:endParaRPr kumimoji="0" lang="en-GB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4" name="Rectangle 63">
            <a:extLst>
              <a:ext uri="{FF2B5EF4-FFF2-40B4-BE49-F238E27FC236}">
                <a16:creationId xmlns:a16="http://schemas.microsoft.com/office/drawing/2014/main" id="{445C0FD1-23BF-44A7-880E-6FA08D25308F}"/>
              </a:ext>
            </a:extLst>
          </p:cNvPr>
          <p:cNvSpPr/>
          <p:nvPr/>
        </p:nvSpPr>
        <p:spPr bwMode="gray">
          <a:xfrm>
            <a:off x="6487696" y="2917133"/>
            <a:ext cx="1981200" cy="288000"/>
          </a:xfrm>
          <a:prstGeom prst="rect">
            <a:avLst/>
          </a:prstGeom>
          <a:solidFill>
            <a:srgbClr val="C5E968"/>
          </a:solidFill>
          <a:ln w="6350" cap="flat" cmpd="sng" algn="ctr">
            <a:solidFill>
              <a:srgbClr val="C5E968"/>
            </a:solidFill>
            <a:prstDash val="solid"/>
            <a:miter lim="800000"/>
          </a:ln>
          <a:effectLst/>
        </p:spPr>
        <p:txBody>
          <a:bodyPr lIns="108000" tIns="72000" rIns="108000" bIns="72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C11C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FLR activities/investments 1</a:t>
            </a:r>
            <a:endParaRPr kumimoji="0" lang="en-GB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05" name="Connector: Elbow 64">
            <a:extLst>
              <a:ext uri="{FF2B5EF4-FFF2-40B4-BE49-F238E27FC236}">
                <a16:creationId xmlns:a16="http://schemas.microsoft.com/office/drawing/2014/main" id="{06549953-BC74-4652-90F5-6E54F71A60AC}"/>
              </a:ext>
            </a:extLst>
          </p:cNvPr>
          <p:cNvCxnSpPr>
            <a:cxnSpLocks/>
            <a:stCxn id="103" idx="2"/>
            <a:endCxn id="104" idx="0"/>
          </p:cNvCxnSpPr>
          <p:nvPr/>
        </p:nvCxnSpPr>
        <p:spPr bwMode="gray">
          <a:xfrm rot="5400000">
            <a:off x="7869884" y="2243916"/>
            <a:ext cx="281630" cy="1064805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93C11C"/>
            </a:solidFill>
            <a:prstDash val="solid"/>
            <a:miter lim="800000"/>
          </a:ln>
          <a:effectLst/>
        </p:spPr>
      </p:cxnSp>
      <p:cxnSp>
        <p:nvCxnSpPr>
          <p:cNvPr id="106" name="Connector: Elbow 70">
            <a:extLst>
              <a:ext uri="{FF2B5EF4-FFF2-40B4-BE49-F238E27FC236}">
                <a16:creationId xmlns:a16="http://schemas.microsoft.com/office/drawing/2014/main" id="{4151237F-9A0C-4101-931E-F53869E9ED72}"/>
              </a:ext>
            </a:extLst>
          </p:cNvPr>
          <p:cNvCxnSpPr>
            <a:cxnSpLocks/>
            <a:stCxn id="103" idx="2"/>
            <a:endCxn id="60" idx="0"/>
          </p:cNvCxnSpPr>
          <p:nvPr/>
        </p:nvCxnSpPr>
        <p:spPr bwMode="gray">
          <a:xfrm rot="16200000" flipH="1">
            <a:off x="8928767" y="2249836"/>
            <a:ext cx="278557" cy="1049889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93C11C"/>
            </a:solidFill>
            <a:prstDash val="solid"/>
            <a:miter lim="800000"/>
          </a:ln>
          <a:effectLst/>
        </p:spPr>
      </p:cxnSp>
      <p:sp>
        <p:nvSpPr>
          <p:cNvPr id="107" name="Rectangle 82">
            <a:extLst>
              <a:ext uri="{FF2B5EF4-FFF2-40B4-BE49-F238E27FC236}">
                <a16:creationId xmlns:a16="http://schemas.microsoft.com/office/drawing/2014/main" id="{105D90C0-30B1-4DF0-AADA-AFC9116B6F23}"/>
              </a:ext>
            </a:extLst>
          </p:cNvPr>
          <p:cNvSpPr/>
          <p:nvPr/>
        </p:nvSpPr>
        <p:spPr>
          <a:xfrm>
            <a:off x="10574797" y="2850311"/>
            <a:ext cx="1319592" cy="415498"/>
          </a:xfrm>
          <a:prstGeom prst="rect">
            <a:avLst/>
          </a:prstGeom>
          <a:solidFill>
            <a:sysClr val="window" lastClr="FFFFFF"/>
          </a:solidFill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</a:rPr>
              <a:t>e.g. introduction of </a:t>
            </a:r>
            <a:b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</a:rPr>
            </a:b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</a:rPr>
              <a:t>agroforestry system</a:t>
            </a: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08" name="Rectangle 84">
            <a:extLst>
              <a:ext uri="{FF2B5EF4-FFF2-40B4-BE49-F238E27FC236}">
                <a16:creationId xmlns:a16="http://schemas.microsoft.com/office/drawing/2014/main" id="{472C07EB-D539-4906-978D-B99830F62A68}"/>
              </a:ext>
            </a:extLst>
          </p:cNvPr>
          <p:cNvSpPr/>
          <p:nvPr/>
        </p:nvSpPr>
        <p:spPr>
          <a:xfrm>
            <a:off x="10587101" y="2291137"/>
            <a:ext cx="184731" cy="253916"/>
          </a:xfrm>
          <a:prstGeom prst="rect">
            <a:avLst/>
          </a:prstGeom>
          <a:solidFill>
            <a:sysClr val="window" lastClr="FFFFFF"/>
          </a:solidFill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9" name="Rectangle 75">
            <a:extLst>
              <a:ext uri="{FF2B5EF4-FFF2-40B4-BE49-F238E27FC236}">
                <a16:creationId xmlns:a16="http://schemas.microsoft.com/office/drawing/2014/main" id="{D81460FE-C587-40F6-9968-4FB2C2BA3606}"/>
              </a:ext>
            </a:extLst>
          </p:cNvPr>
          <p:cNvSpPr/>
          <p:nvPr/>
        </p:nvSpPr>
        <p:spPr bwMode="gray">
          <a:xfrm rot="19670454">
            <a:off x="6919535" y="3160256"/>
            <a:ext cx="4202536" cy="1328977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>
              <a:buClr>
                <a:schemeClr val="tx2"/>
              </a:buClr>
              <a:buSzPct val="80000"/>
            </a:pPr>
            <a:r>
              <a:rPr lang="en-US" sz="5400" b="1" dirty="0">
                <a:solidFill>
                  <a:srgbClr val="FFC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oo complex</a:t>
            </a:r>
            <a:endParaRPr lang="en-GB" sz="5400" b="1" dirty="0" err="1">
              <a:solidFill>
                <a:srgbClr val="FFC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4216946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4C6343FA-1777-4606-92DE-2C9E5EB4A5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FLR Impact Frameworks Focus on Four Broad Impact Areas</a:t>
            </a:r>
            <a:endParaRPr lang="de-DE" dirty="0"/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5A2119D-D2B6-40CA-84CB-0F851513F0B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de-DE" smtClean="0"/>
              <a:t>6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8CA9767-E43E-466D-8CCC-63F9206822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8E03957-1576-4059-A0BD-F0FE6BFC8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7" name="Picture 22">
            <a:extLst>
              <a:ext uri="{FF2B5EF4-FFF2-40B4-BE49-F238E27FC236}">
                <a16:creationId xmlns:a16="http://schemas.microsoft.com/office/drawing/2014/main" id="{0B308771-2BAC-4A06-8310-6A1388CF166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0238" y="1891328"/>
            <a:ext cx="1165983" cy="699590"/>
          </a:xfrm>
          <a:prstGeom prst="rect">
            <a:avLst/>
          </a:prstGeom>
        </p:spPr>
      </p:pic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E235144B-65F3-4238-83F2-381FE3CA5452}"/>
              </a:ext>
            </a:extLst>
          </p:cNvPr>
          <p:cNvSpPr txBox="1">
            <a:spLocks/>
          </p:cNvSpPr>
          <p:nvPr/>
        </p:nvSpPr>
        <p:spPr>
          <a:xfrm>
            <a:off x="1794763" y="1933708"/>
            <a:ext cx="4267199" cy="9710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t">
            <a:normAutofit fontScale="47500" lnSpcReduction="20000"/>
          </a:bodyPr>
          <a:lstStyle>
            <a:lvl1pPr marL="0" marR="0" indent="0" algn="l" defTabSz="41075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84C"/>
              </a:buClr>
              <a:buSzPct val="75000"/>
              <a:buFont typeface="Wingdings" panose="05000000000000000000" pitchFamily="2" charset="2"/>
              <a:buNone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Helvetica Light"/>
              </a:defRPr>
            </a:lvl1pPr>
            <a:lvl2pPr marL="265113" marR="0" indent="-265113" algn="l" defTabSz="12612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84C"/>
              </a:buClr>
              <a:buSzPct val="75000"/>
              <a:buFont typeface="Wingdings" panose="05000000000000000000" pitchFamily="2" charset="2"/>
              <a:buChar char="§"/>
              <a:tabLst/>
              <a:defRPr sz="2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Helvetica Light"/>
              </a:defRPr>
            </a:lvl2pPr>
            <a:lvl3pPr marL="449263" marR="0" indent="-184150" algn="l" defTabSz="41075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84C"/>
              </a:buClr>
              <a:buSzPct val="75000"/>
              <a:buFont typeface="Symbol" panose="05050102010706020507" pitchFamily="18" charset="2"/>
              <a:buChar char="-"/>
              <a:tabLst>
                <a:tab pos="361950" algn="l"/>
              </a:tabLst>
              <a:defRPr sz="2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Helvetica Light"/>
              </a:defRPr>
            </a:lvl3pPr>
            <a:lvl4pPr marL="627063" marR="0" indent="-177800" algn="l" defTabSz="410751" rtl="0" eaLnBrk="1" latinLnBrk="0" hangingPunct="1">
              <a:lnSpc>
                <a:spcPct val="100000"/>
              </a:lnSpc>
              <a:spcBef>
                <a:spcPts val="422"/>
              </a:spcBef>
              <a:spcAft>
                <a:spcPts val="600"/>
              </a:spcAft>
              <a:buClr>
                <a:srgbClr val="00684C"/>
              </a:buClr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Helvetica Light"/>
              </a:defRPr>
            </a:lvl4pPr>
            <a:lvl5pPr marL="803275" marR="0" indent="-176213" algn="l" defTabSz="410751" rtl="0" eaLnBrk="1" latinLnBrk="0" hangingPunct="1">
              <a:lnSpc>
                <a:spcPct val="100000"/>
              </a:lnSpc>
              <a:spcBef>
                <a:spcPts val="422"/>
              </a:spcBef>
              <a:spcAft>
                <a:spcPts val="0"/>
              </a:spcAft>
              <a:buClr>
                <a:srgbClr val="00684C"/>
              </a:buClr>
              <a:buSzPct val="75000"/>
              <a:buFontTx/>
              <a:buChar char="•"/>
              <a:tabLst/>
              <a:defRPr sz="1406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Helvetica Light"/>
              </a:defRPr>
            </a:lvl5pPr>
            <a:lvl6pPr marL="1875168" marR="0" indent="-312528" algn="l" defTabSz="410751" rtl="0" eaLnBrk="1" latinLnBrk="0" hangingPunct="1">
              <a:lnSpc>
                <a:spcPct val="100000"/>
              </a:lnSpc>
              <a:spcBef>
                <a:spcPts val="295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531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187696" marR="0" indent="-312528" algn="l" defTabSz="410751" rtl="0" eaLnBrk="1" latinLnBrk="0" hangingPunct="1">
              <a:lnSpc>
                <a:spcPct val="100000"/>
              </a:lnSpc>
              <a:spcBef>
                <a:spcPts val="295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531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2500224" marR="0" indent="-312528" algn="l" defTabSz="410751" rtl="0" eaLnBrk="1" latinLnBrk="0" hangingPunct="1">
              <a:lnSpc>
                <a:spcPct val="100000"/>
              </a:lnSpc>
              <a:spcBef>
                <a:spcPts val="295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531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2812752" marR="0" indent="-312528" algn="l" defTabSz="410751" rtl="0" eaLnBrk="1" latinLnBrk="0" hangingPunct="1">
              <a:lnSpc>
                <a:spcPct val="100000"/>
              </a:lnSpc>
              <a:spcBef>
                <a:spcPts val="295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531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endParaRPr lang="en-US" sz="100" b="1" dirty="0"/>
          </a:p>
          <a:p>
            <a:r>
              <a:rPr lang="en-US" b="1" dirty="0"/>
              <a:t>15.1: </a:t>
            </a:r>
            <a:r>
              <a:rPr lang="en-US" dirty="0"/>
              <a:t>conservation, restoration and sustainable use of terrestrial and inland freshwater ecosystems and their services […]</a:t>
            </a:r>
            <a:endParaRPr lang="en-US" sz="200" dirty="0"/>
          </a:p>
          <a:p>
            <a:r>
              <a:rPr lang="en-US" b="1" dirty="0"/>
              <a:t>15.2</a:t>
            </a:r>
            <a:r>
              <a:rPr lang="en-US" dirty="0"/>
              <a:t>: sustainable management of all types of forests, halt deforestation, restore degraded forests</a:t>
            </a:r>
            <a:endParaRPr lang="en-US" sz="100" dirty="0"/>
          </a:p>
          <a:p>
            <a:r>
              <a:rPr lang="en-US" b="1" dirty="0"/>
              <a:t>15.3:  </a:t>
            </a:r>
            <a:r>
              <a:rPr lang="en-US" dirty="0"/>
              <a:t>[…] strive to achieve a land degradation-neutral world</a:t>
            </a:r>
            <a:endParaRPr lang="en-GB" dirty="0"/>
          </a:p>
        </p:txBody>
      </p:sp>
      <p:sp>
        <p:nvSpPr>
          <p:cNvPr id="9" name="Rectangle 12">
            <a:extLst>
              <a:ext uri="{FF2B5EF4-FFF2-40B4-BE49-F238E27FC236}">
                <a16:creationId xmlns:a16="http://schemas.microsoft.com/office/drawing/2014/main" id="{6EF6E1AD-A10C-4A2E-B0F7-C28FDAD66656}"/>
              </a:ext>
            </a:extLst>
          </p:cNvPr>
          <p:cNvSpPr/>
          <p:nvPr/>
        </p:nvSpPr>
        <p:spPr>
          <a:xfrm>
            <a:off x="4470054" y="4166420"/>
            <a:ext cx="501189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600" dirty="0">
                <a:solidFill>
                  <a:schemeClr val="tx2"/>
                </a:solidFill>
              </a:rPr>
              <a:t>4 common FLR target/impact areas*</a:t>
            </a:r>
            <a:endParaRPr lang="en-GB" sz="1600" dirty="0">
              <a:solidFill>
                <a:schemeClr val="tx2"/>
              </a:solidFill>
            </a:endParaRPr>
          </a:p>
        </p:txBody>
      </p:sp>
      <p:grpSp>
        <p:nvGrpSpPr>
          <p:cNvPr id="10" name="Group 53">
            <a:extLst>
              <a:ext uri="{FF2B5EF4-FFF2-40B4-BE49-F238E27FC236}">
                <a16:creationId xmlns:a16="http://schemas.microsoft.com/office/drawing/2014/main" id="{BB4D1E79-AB56-4CC5-9447-2515348AEA4F}"/>
              </a:ext>
            </a:extLst>
          </p:cNvPr>
          <p:cNvGrpSpPr/>
          <p:nvPr/>
        </p:nvGrpSpPr>
        <p:grpSpPr>
          <a:xfrm>
            <a:off x="1164787" y="4526705"/>
            <a:ext cx="582092" cy="446108"/>
            <a:chOff x="9356654" y="2164583"/>
            <a:chExt cx="706400" cy="541376"/>
          </a:xfrm>
        </p:grpSpPr>
        <p:grpSp>
          <p:nvGrpSpPr>
            <p:cNvPr id="11" name="Group 39">
              <a:extLst>
                <a:ext uri="{FF2B5EF4-FFF2-40B4-BE49-F238E27FC236}">
                  <a16:creationId xmlns:a16="http://schemas.microsoft.com/office/drawing/2014/main" id="{F194FC48-55B8-42EC-8997-A0725B891700}"/>
                </a:ext>
              </a:extLst>
            </p:cNvPr>
            <p:cNvGrpSpPr/>
            <p:nvPr/>
          </p:nvGrpSpPr>
          <p:grpSpPr>
            <a:xfrm>
              <a:off x="9356654" y="2164583"/>
              <a:ext cx="706400" cy="541376"/>
              <a:chOff x="8153401" y="1861425"/>
              <a:chExt cx="706400" cy="541376"/>
            </a:xfrm>
          </p:grpSpPr>
          <p:grpSp>
            <p:nvGrpSpPr>
              <p:cNvPr id="13" name="Group 40">
                <a:extLst>
                  <a:ext uri="{FF2B5EF4-FFF2-40B4-BE49-F238E27FC236}">
                    <a16:creationId xmlns:a16="http://schemas.microsoft.com/office/drawing/2014/main" id="{D00384F8-0FF4-46D3-8A96-3454AC88F196}"/>
                  </a:ext>
                </a:extLst>
              </p:cNvPr>
              <p:cNvGrpSpPr/>
              <p:nvPr/>
            </p:nvGrpSpPr>
            <p:grpSpPr>
              <a:xfrm>
                <a:off x="8153401" y="1933598"/>
                <a:ext cx="706400" cy="469203"/>
                <a:chOff x="8182681" y="1933598"/>
                <a:chExt cx="706400" cy="469203"/>
              </a:xfrm>
            </p:grpSpPr>
            <p:pic>
              <p:nvPicPr>
                <p:cNvPr id="15" name="Graphic 42" descr="Open hand with plant">
                  <a:extLst>
                    <a:ext uri="{FF2B5EF4-FFF2-40B4-BE49-F238E27FC236}">
                      <a16:creationId xmlns:a16="http://schemas.microsoft.com/office/drawing/2014/main" id="{E4FC7AF4-B7B2-4DBF-9965-7598B7F9E4A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13663039" flipV="1">
                  <a:off x="8182681" y="1933598"/>
                  <a:ext cx="469202" cy="469202"/>
                </a:xfrm>
                <a:prstGeom prst="rect">
                  <a:avLst/>
                </a:prstGeom>
              </p:spPr>
            </p:pic>
            <p:pic>
              <p:nvPicPr>
                <p:cNvPr id="16" name="Graphic 43" descr="Open hand with plant">
                  <a:extLst>
                    <a:ext uri="{FF2B5EF4-FFF2-40B4-BE49-F238E27FC236}">
                      <a16:creationId xmlns:a16="http://schemas.microsoft.com/office/drawing/2014/main" id="{0A7FE285-1090-4C81-B834-3B25858086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rot="7936961" flipH="1" flipV="1">
                  <a:off x="8419879" y="1933599"/>
                  <a:ext cx="469202" cy="469202"/>
                </a:xfrm>
                <a:prstGeom prst="rect">
                  <a:avLst/>
                </a:prstGeom>
              </p:spPr>
            </p:pic>
          </p:grpSp>
          <p:sp>
            <p:nvSpPr>
              <p:cNvPr id="14" name="Oval 41">
                <a:extLst>
                  <a:ext uri="{FF2B5EF4-FFF2-40B4-BE49-F238E27FC236}">
                    <a16:creationId xmlns:a16="http://schemas.microsoft.com/office/drawing/2014/main" id="{3A87EA34-BACD-4741-A9F8-A99C175055E2}"/>
                  </a:ext>
                </a:extLst>
              </p:cNvPr>
              <p:cNvSpPr/>
              <p:nvPr/>
            </p:nvSpPr>
            <p:spPr bwMode="gray">
              <a:xfrm>
                <a:off x="8337550" y="1861425"/>
                <a:ext cx="343754" cy="373521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ctr">
                  <a:buClr>
                    <a:schemeClr val="tx2"/>
                  </a:buClr>
                  <a:buSzPct val="80000"/>
                </a:pPr>
                <a:endParaRPr lang="en-GB" sz="1600" dirty="0" err="1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  <p:pic>
          <p:nvPicPr>
            <p:cNvPr id="12" name="Graphic 44" descr="Deciduous tree">
              <a:extLst>
                <a:ext uri="{FF2B5EF4-FFF2-40B4-BE49-F238E27FC236}">
                  <a16:creationId xmlns:a16="http://schemas.microsoft.com/office/drawing/2014/main" id="{7625B1AD-F9EC-47C9-8B99-F160D858F0A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539285" y="2180774"/>
              <a:ext cx="341138" cy="341138"/>
            </a:xfrm>
            <a:prstGeom prst="rect">
              <a:avLst/>
            </a:prstGeom>
          </p:spPr>
        </p:pic>
      </p:grpSp>
      <p:sp>
        <p:nvSpPr>
          <p:cNvPr id="17" name="Rectangle 49">
            <a:extLst>
              <a:ext uri="{FF2B5EF4-FFF2-40B4-BE49-F238E27FC236}">
                <a16:creationId xmlns:a16="http://schemas.microsoft.com/office/drawing/2014/main" id="{B772AC1A-A112-484B-A246-39D4F54D14B3}"/>
              </a:ext>
            </a:extLst>
          </p:cNvPr>
          <p:cNvSpPr/>
          <p:nvPr/>
        </p:nvSpPr>
        <p:spPr>
          <a:xfrm>
            <a:off x="357749" y="4957467"/>
            <a:ext cx="219617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/>
              <a:t>Conservation/Restoration </a:t>
            </a:r>
            <a:endParaRPr lang="en-GB" sz="1400" dirty="0"/>
          </a:p>
        </p:txBody>
      </p:sp>
      <p:sp>
        <p:nvSpPr>
          <p:cNvPr id="18" name="Rectangle 50">
            <a:extLst>
              <a:ext uri="{FF2B5EF4-FFF2-40B4-BE49-F238E27FC236}">
                <a16:creationId xmlns:a16="http://schemas.microsoft.com/office/drawing/2014/main" id="{8DA45E89-9F73-42DB-99B5-101AC7E349E3}"/>
              </a:ext>
            </a:extLst>
          </p:cNvPr>
          <p:cNvSpPr/>
          <p:nvPr/>
        </p:nvSpPr>
        <p:spPr>
          <a:xfrm>
            <a:off x="3677593" y="4957467"/>
            <a:ext cx="184813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/>
              <a:t>Production/Economic</a:t>
            </a:r>
            <a:endParaRPr lang="en-GB" sz="1400" dirty="0"/>
          </a:p>
        </p:txBody>
      </p:sp>
      <p:sp>
        <p:nvSpPr>
          <p:cNvPr id="19" name="Rectangle 51">
            <a:extLst>
              <a:ext uri="{FF2B5EF4-FFF2-40B4-BE49-F238E27FC236}">
                <a16:creationId xmlns:a16="http://schemas.microsoft.com/office/drawing/2014/main" id="{F868BE11-B18F-4526-BE09-122AAC88AB50}"/>
              </a:ext>
            </a:extLst>
          </p:cNvPr>
          <p:cNvSpPr/>
          <p:nvPr/>
        </p:nvSpPr>
        <p:spPr>
          <a:xfrm>
            <a:off x="6612729" y="4957467"/>
            <a:ext cx="20313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/>
              <a:t>Livelihoods/Well-being	</a:t>
            </a:r>
            <a:endParaRPr lang="en-GB" sz="1400" dirty="0"/>
          </a:p>
        </p:txBody>
      </p:sp>
      <p:sp>
        <p:nvSpPr>
          <p:cNvPr id="20" name="Rectangle 52">
            <a:extLst>
              <a:ext uri="{FF2B5EF4-FFF2-40B4-BE49-F238E27FC236}">
                <a16:creationId xmlns:a16="http://schemas.microsoft.com/office/drawing/2014/main" id="{86ED9F9B-5719-4C23-81D5-34E71CD4DB28}"/>
              </a:ext>
            </a:extLst>
          </p:cNvPr>
          <p:cNvSpPr/>
          <p:nvPr/>
        </p:nvSpPr>
        <p:spPr>
          <a:xfrm>
            <a:off x="10173928" y="4957467"/>
            <a:ext cx="107696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/>
              <a:t>Governance</a:t>
            </a:r>
            <a:endParaRPr lang="en-GB" sz="1400" dirty="0"/>
          </a:p>
        </p:txBody>
      </p:sp>
      <p:pic>
        <p:nvPicPr>
          <p:cNvPr id="21" name="Graphic 57" descr="Court">
            <a:extLst>
              <a:ext uri="{FF2B5EF4-FFF2-40B4-BE49-F238E27FC236}">
                <a16:creationId xmlns:a16="http://schemas.microsoft.com/office/drawing/2014/main" id="{710499D3-32FA-434B-87DA-DE4C94663051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78728" y="4531468"/>
            <a:ext cx="436578" cy="436578"/>
          </a:xfrm>
          <a:prstGeom prst="rect">
            <a:avLst/>
          </a:prstGeom>
        </p:spPr>
      </p:pic>
      <p:pic>
        <p:nvPicPr>
          <p:cNvPr id="22" name="Graphic 61" descr="Business Growth">
            <a:extLst>
              <a:ext uri="{FF2B5EF4-FFF2-40B4-BE49-F238E27FC236}">
                <a16:creationId xmlns:a16="http://schemas.microsoft.com/office/drawing/2014/main" id="{10781C94-5FE7-4E52-A2AB-932DD7CF6AA1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393615" y="4501582"/>
            <a:ext cx="496350" cy="496350"/>
          </a:xfrm>
          <a:prstGeom prst="rect">
            <a:avLst/>
          </a:prstGeom>
        </p:spPr>
      </p:pic>
      <p:sp>
        <p:nvSpPr>
          <p:cNvPr id="23" name="Rectangle 62">
            <a:extLst>
              <a:ext uri="{FF2B5EF4-FFF2-40B4-BE49-F238E27FC236}">
                <a16:creationId xmlns:a16="http://schemas.microsoft.com/office/drawing/2014/main" id="{19CEA2BA-B2B7-4A68-8935-554C239F39BC}"/>
              </a:ext>
            </a:extLst>
          </p:cNvPr>
          <p:cNvSpPr/>
          <p:nvPr/>
        </p:nvSpPr>
        <p:spPr>
          <a:xfrm>
            <a:off x="389342" y="5286918"/>
            <a:ext cx="219617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/>
              <a:t>Conserve, maintain or restore biodiversity and eco-system services with focus on forests </a:t>
            </a:r>
          </a:p>
        </p:txBody>
      </p:sp>
      <p:sp>
        <p:nvSpPr>
          <p:cNvPr id="24" name="Rectangle 63">
            <a:extLst>
              <a:ext uri="{FF2B5EF4-FFF2-40B4-BE49-F238E27FC236}">
                <a16:creationId xmlns:a16="http://schemas.microsoft.com/office/drawing/2014/main" id="{CEA7C804-1C8E-469A-B73C-3A7E2028B235}"/>
              </a:ext>
            </a:extLst>
          </p:cNvPr>
          <p:cNvSpPr/>
          <p:nvPr/>
        </p:nvSpPr>
        <p:spPr>
          <a:xfrm>
            <a:off x="3217351" y="5286918"/>
            <a:ext cx="26131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/>
              <a:t>Sustainable, productive and ecological agriculture</a:t>
            </a:r>
            <a:r>
              <a:rPr lang="en-US" sz="1400" b="1" dirty="0"/>
              <a:t>	</a:t>
            </a:r>
            <a:endParaRPr lang="en-GB" sz="1400" dirty="0"/>
          </a:p>
        </p:txBody>
      </p:sp>
      <p:sp>
        <p:nvSpPr>
          <p:cNvPr id="25" name="Rectangle 64">
            <a:extLst>
              <a:ext uri="{FF2B5EF4-FFF2-40B4-BE49-F238E27FC236}">
                <a16:creationId xmlns:a16="http://schemas.microsoft.com/office/drawing/2014/main" id="{E9E9636A-D535-45D1-BFCC-5DD439863FDE}"/>
              </a:ext>
            </a:extLst>
          </p:cNvPr>
          <p:cNvSpPr/>
          <p:nvPr/>
        </p:nvSpPr>
        <p:spPr>
          <a:xfrm>
            <a:off x="6211528" y="5286918"/>
            <a:ext cx="26131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/>
              <a:t>Sustain or improve livelihoods or local communities</a:t>
            </a:r>
          </a:p>
        </p:txBody>
      </p:sp>
      <p:sp>
        <p:nvSpPr>
          <p:cNvPr id="26" name="Rectangle 65">
            <a:extLst>
              <a:ext uri="{FF2B5EF4-FFF2-40B4-BE49-F238E27FC236}">
                <a16:creationId xmlns:a16="http://schemas.microsoft.com/office/drawing/2014/main" id="{22CEA5C9-771E-4D18-9E59-070A643CB653}"/>
              </a:ext>
            </a:extLst>
          </p:cNvPr>
          <p:cNvSpPr/>
          <p:nvPr/>
        </p:nvSpPr>
        <p:spPr>
          <a:xfrm>
            <a:off x="9488128" y="5286918"/>
            <a:ext cx="237961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/>
              <a:t>Establish or improve enabling institutions and increase stakeholder engagement</a:t>
            </a:r>
          </a:p>
        </p:txBody>
      </p:sp>
      <p:pic>
        <p:nvPicPr>
          <p:cNvPr id="27" name="Picture 66">
            <a:extLst>
              <a:ext uri="{FF2B5EF4-FFF2-40B4-BE49-F238E27FC236}">
                <a16:creationId xmlns:a16="http://schemas.microsoft.com/office/drawing/2014/main" id="{6E115DA5-0607-44CF-A403-E6A3B61A23D9}"/>
              </a:ext>
            </a:extLst>
          </p:cNvPr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851" y="1917012"/>
            <a:ext cx="995911" cy="933613"/>
          </a:xfrm>
          <a:prstGeom prst="rect">
            <a:avLst/>
          </a:prstGeom>
        </p:spPr>
      </p:pic>
      <p:pic>
        <p:nvPicPr>
          <p:cNvPr id="28" name="Picture 33">
            <a:extLst>
              <a:ext uri="{FF2B5EF4-FFF2-40B4-BE49-F238E27FC236}">
                <a16:creationId xmlns:a16="http://schemas.microsoft.com/office/drawing/2014/main" id="{A7EE705D-7232-476E-8FDE-C215E4065E8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476" y="2994548"/>
            <a:ext cx="2105509" cy="415561"/>
          </a:xfrm>
          <a:prstGeom prst="rect">
            <a:avLst/>
          </a:prstGeom>
        </p:spPr>
      </p:pic>
      <p:sp>
        <p:nvSpPr>
          <p:cNvPr id="29" name="Rectangle 13">
            <a:extLst>
              <a:ext uri="{FF2B5EF4-FFF2-40B4-BE49-F238E27FC236}">
                <a16:creationId xmlns:a16="http://schemas.microsoft.com/office/drawing/2014/main" id="{4F9B66F4-A1AF-4A47-94A9-38F4B6CE4FF8}"/>
              </a:ext>
            </a:extLst>
          </p:cNvPr>
          <p:cNvSpPr/>
          <p:nvPr/>
        </p:nvSpPr>
        <p:spPr>
          <a:xfrm>
            <a:off x="2760012" y="2986432"/>
            <a:ext cx="291827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1. Stop forest loss […]</a:t>
            </a:r>
          </a:p>
          <a:p>
            <a:r>
              <a:rPr lang="en-US" sz="1200" dirty="0"/>
              <a:t>4. Support alternatives for basic needs […] </a:t>
            </a:r>
          </a:p>
        </p:txBody>
      </p:sp>
      <p:grpSp>
        <p:nvGrpSpPr>
          <p:cNvPr id="30" name="Group 16">
            <a:extLst>
              <a:ext uri="{FF2B5EF4-FFF2-40B4-BE49-F238E27FC236}">
                <a16:creationId xmlns:a16="http://schemas.microsoft.com/office/drawing/2014/main" id="{8E69F794-DE12-4960-B338-2F733A5EAA57}"/>
              </a:ext>
            </a:extLst>
          </p:cNvPr>
          <p:cNvGrpSpPr/>
          <p:nvPr/>
        </p:nvGrpSpPr>
        <p:grpSpPr>
          <a:xfrm>
            <a:off x="4361956" y="4526705"/>
            <a:ext cx="496350" cy="496350"/>
            <a:chOff x="5482486" y="4995849"/>
            <a:chExt cx="496350" cy="496350"/>
          </a:xfrm>
        </p:grpSpPr>
        <p:pic>
          <p:nvPicPr>
            <p:cNvPr id="31" name="Graphic 48" descr="Upward trend">
              <a:extLst>
                <a:ext uri="{FF2B5EF4-FFF2-40B4-BE49-F238E27FC236}">
                  <a16:creationId xmlns:a16="http://schemas.microsoft.com/office/drawing/2014/main" id="{8F3DBF9B-07F9-4834-BDF6-5C921F95C09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482486" y="4995849"/>
              <a:ext cx="496350" cy="496350"/>
            </a:xfrm>
            <a:prstGeom prst="rect">
              <a:avLst/>
            </a:prstGeom>
          </p:spPr>
        </p:pic>
        <p:pic>
          <p:nvPicPr>
            <p:cNvPr id="32" name="Graphic 55" descr="Plant">
              <a:extLst>
                <a:ext uri="{FF2B5EF4-FFF2-40B4-BE49-F238E27FC236}">
                  <a16:creationId xmlns:a16="http://schemas.microsoft.com/office/drawing/2014/main" id="{E6750B31-7F47-4AAF-A7F4-A0280C675E6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5592157" y="5318403"/>
              <a:ext cx="92810" cy="92810"/>
            </a:xfrm>
            <a:prstGeom prst="rect">
              <a:avLst/>
            </a:prstGeom>
          </p:spPr>
        </p:pic>
        <p:pic>
          <p:nvPicPr>
            <p:cNvPr id="33" name="Graphic 56" descr="Plant">
              <a:extLst>
                <a:ext uri="{FF2B5EF4-FFF2-40B4-BE49-F238E27FC236}">
                  <a16:creationId xmlns:a16="http://schemas.microsoft.com/office/drawing/2014/main" id="{F679285E-39D9-48CE-AFB1-54BE6300DF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5691566" y="5294251"/>
              <a:ext cx="114710" cy="114710"/>
            </a:xfrm>
            <a:prstGeom prst="rect">
              <a:avLst/>
            </a:prstGeom>
          </p:spPr>
        </p:pic>
        <p:pic>
          <p:nvPicPr>
            <p:cNvPr id="34" name="Graphic 58" descr="Plant">
              <a:extLst>
                <a:ext uri="{FF2B5EF4-FFF2-40B4-BE49-F238E27FC236}">
                  <a16:creationId xmlns:a16="http://schemas.microsoft.com/office/drawing/2014/main" id="{F74F3110-5EB8-4D00-A2DD-2E6DBB9FA6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5767128" y="5233728"/>
              <a:ext cx="176472" cy="176472"/>
            </a:xfrm>
            <a:prstGeom prst="rect">
              <a:avLst/>
            </a:prstGeom>
          </p:spPr>
        </p:pic>
      </p:grpSp>
      <p:pic>
        <p:nvPicPr>
          <p:cNvPr id="35" name="Picture 18">
            <a:extLst>
              <a:ext uri="{FF2B5EF4-FFF2-40B4-BE49-F238E27FC236}">
                <a16:creationId xmlns:a16="http://schemas.microsoft.com/office/drawing/2014/main" id="{6026CAF2-A49E-4266-B000-09D4E34E9B19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9876" y="2677176"/>
            <a:ext cx="879412" cy="284974"/>
          </a:xfrm>
          <a:prstGeom prst="rect">
            <a:avLst/>
          </a:prstGeom>
        </p:spPr>
      </p:pic>
      <p:pic>
        <p:nvPicPr>
          <p:cNvPr id="36" name="Picture 20">
            <a:extLst>
              <a:ext uri="{FF2B5EF4-FFF2-40B4-BE49-F238E27FC236}">
                <a16:creationId xmlns:a16="http://schemas.microsoft.com/office/drawing/2014/main" id="{00E604EC-5430-4F64-A5C2-B1F539D0FFEE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002" y="2681650"/>
            <a:ext cx="716291" cy="443205"/>
          </a:xfrm>
          <a:prstGeom prst="rect">
            <a:avLst/>
          </a:prstGeom>
        </p:spPr>
      </p:pic>
      <p:pic>
        <p:nvPicPr>
          <p:cNvPr id="37" name="Picture 24">
            <a:extLst>
              <a:ext uri="{FF2B5EF4-FFF2-40B4-BE49-F238E27FC236}">
                <a16:creationId xmlns:a16="http://schemas.microsoft.com/office/drawing/2014/main" id="{A407BFCC-0161-4BE8-AE86-29E71ED6F3FA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7069" y="2099455"/>
            <a:ext cx="748194" cy="311748"/>
          </a:xfrm>
          <a:prstGeom prst="rect">
            <a:avLst/>
          </a:prstGeom>
        </p:spPr>
      </p:pic>
      <p:pic>
        <p:nvPicPr>
          <p:cNvPr id="38" name="Picture 26">
            <a:extLst>
              <a:ext uri="{FF2B5EF4-FFF2-40B4-BE49-F238E27FC236}">
                <a16:creationId xmlns:a16="http://schemas.microsoft.com/office/drawing/2014/main" id="{D4AD2FFB-0D22-42A2-BD41-6BDCB8930EE9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4147" y="3225676"/>
            <a:ext cx="2316540" cy="243972"/>
          </a:xfrm>
          <a:prstGeom prst="rect">
            <a:avLst/>
          </a:prstGeom>
        </p:spPr>
      </p:pic>
      <p:pic>
        <p:nvPicPr>
          <p:cNvPr id="39" name="Picture 32">
            <a:extLst>
              <a:ext uri="{FF2B5EF4-FFF2-40B4-BE49-F238E27FC236}">
                <a16:creationId xmlns:a16="http://schemas.microsoft.com/office/drawing/2014/main" id="{7EA2215C-8098-42D4-BF24-DA0BF152876A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0706" y="2012197"/>
            <a:ext cx="1812703" cy="712741"/>
          </a:xfrm>
          <a:prstGeom prst="rect">
            <a:avLst/>
          </a:prstGeom>
        </p:spPr>
      </p:pic>
      <p:pic>
        <p:nvPicPr>
          <p:cNvPr id="40" name="Picture 35">
            <a:extLst>
              <a:ext uri="{FF2B5EF4-FFF2-40B4-BE49-F238E27FC236}">
                <a16:creationId xmlns:a16="http://schemas.microsoft.com/office/drawing/2014/main" id="{DF861C8B-5671-4CCD-A0AE-C584F252D784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8603" y="3127334"/>
            <a:ext cx="1319039" cy="738663"/>
          </a:xfrm>
          <a:prstGeom prst="rect">
            <a:avLst/>
          </a:prstGeom>
        </p:spPr>
      </p:pic>
      <p:pic>
        <p:nvPicPr>
          <p:cNvPr id="41" name="Picture 37">
            <a:extLst>
              <a:ext uri="{FF2B5EF4-FFF2-40B4-BE49-F238E27FC236}">
                <a16:creationId xmlns:a16="http://schemas.microsoft.com/office/drawing/2014/main" id="{D0B08B65-80F1-4535-9463-30F44369F304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5514" y="2844570"/>
            <a:ext cx="973538" cy="354368"/>
          </a:xfrm>
          <a:prstGeom prst="rect">
            <a:avLst/>
          </a:prstGeom>
        </p:spPr>
      </p:pic>
      <p:sp>
        <p:nvSpPr>
          <p:cNvPr id="42" name="Right Brace 8">
            <a:extLst>
              <a:ext uri="{FF2B5EF4-FFF2-40B4-BE49-F238E27FC236}">
                <a16:creationId xmlns:a16="http://schemas.microsoft.com/office/drawing/2014/main" id="{967D11DC-8D47-4EF7-9DAE-FC1B5DD3CFBE}"/>
              </a:ext>
            </a:extLst>
          </p:cNvPr>
          <p:cNvSpPr/>
          <p:nvPr/>
        </p:nvSpPr>
        <p:spPr bwMode="gray">
          <a:xfrm rot="5400000">
            <a:off x="5919092" y="-1532292"/>
            <a:ext cx="338553" cy="10973977"/>
          </a:xfrm>
          <a:prstGeom prst="rightBrac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" name="Rectangle 10">
            <a:extLst>
              <a:ext uri="{FF2B5EF4-FFF2-40B4-BE49-F238E27FC236}">
                <a16:creationId xmlns:a16="http://schemas.microsoft.com/office/drawing/2014/main" id="{01416206-2F80-4D00-B717-FC2290E8553F}"/>
              </a:ext>
            </a:extLst>
          </p:cNvPr>
          <p:cNvSpPr/>
          <p:nvPr/>
        </p:nvSpPr>
        <p:spPr>
          <a:xfrm>
            <a:off x="695030" y="1339322"/>
            <a:ext cx="5011896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600" dirty="0">
                <a:solidFill>
                  <a:srgbClr val="00B050"/>
                </a:solidFill>
              </a:rPr>
              <a:t>Select restoration goals</a:t>
            </a:r>
          </a:p>
        </p:txBody>
      </p:sp>
      <p:sp>
        <p:nvSpPr>
          <p:cNvPr id="44" name="Rectangle 45">
            <a:extLst>
              <a:ext uri="{FF2B5EF4-FFF2-40B4-BE49-F238E27FC236}">
                <a16:creationId xmlns:a16="http://schemas.microsoft.com/office/drawing/2014/main" id="{DE34A97E-EB3E-4574-B2F9-A2E5C241EF82}"/>
              </a:ext>
            </a:extLst>
          </p:cNvPr>
          <p:cNvSpPr/>
          <p:nvPr/>
        </p:nvSpPr>
        <p:spPr>
          <a:xfrm>
            <a:off x="6741773" y="1335173"/>
            <a:ext cx="5011896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600" dirty="0">
                <a:solidFill>
                  <a:srgbClr val="00B050"/>
                </a:solidFill>
              </a:rPr>
              <a:t>Select impact/restoration frameworks analyzed</a:t>
            </a:r>
          </a:p>
        </p:txBody>
      </p:sp>
    </p:spTree>
    <p:extLst>
      <p:ext uri="{BB962C8B-B14F-4D97-AF65-F5344CB8AC3E}">
        <p14:creationId xmlns:p14="http://schemas.microsoft.com/office/powerpoint/2010/main" val="140359447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90BE5C4-C0CA-4759-90C8-174883091D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FLR Impact Engine Tool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84BBFC0-79B8-48C4-9C1F-141DC4287896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de-DE" smtClean="0"/>
              <a:t>7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633DFBF-32BF-4A5C-BEFB-9B94ECA223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90977F8-1DF8-4BC6-A2A9-FB7C48513A4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FLR Impact Engine automates FLR impact estimation process</a:t>
            </a:r>
          </a:p>
          <a:p>
            <a:endParaRPr lang="de-DE" dirty="0"/>
          </a:p>
        </p:txBody>
      </p:sp>
      <p:sp>
        <p:nvSpPr>
          <p:cNvPr id="7" name="Rectangle 29">
            <a:extLst>
              <a:ext uri="{FF2B5EF4-FFF2-40B4-BE49-F238E27FC236}">
                <a16:creationId xmlns:a16="http://schemas.microsoft.com/office/drawing/2014/main" id="{41341778-5875-438B-B229-433F12F7B3E0}"/>
              </a:ext>
            </a:extLst>
          </p:cNvPr>
          <p:cNvSpPr/>
          <p:nvPr/>
        </p:nvSpPr>
        <p:spPr bwMode="gray">
          <a:xfrm>
            <a:off x="3035411" y="1631876"/>
            <a:ext cx="6260989" cy="3052247"/>
          </a:xfrm>
          <a:prstGeom prst="rect">
            <a:avLst/>
          </a:prstGeom>
          <a:solidFill>
            <a:srgbClr val="00A063">
              <a:alpha val="10196"/>
            </a:srgb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>
              <a:buClr>
                <a:schemeClr val="tx2"/>
              </a:buClr>
              <a:buSzPct val="80000"/>
            </a:pPr>
            <a:endParaRPr lang="en-GB" sz="1600" dirty="0" err="1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8" name="Group 3">
            <a:extLst>
              <a:ext uri="{FF2B5EF4-FFF2-40B4-BE49-F238E27FC236}">
                <a16:creationId xmlns:a16="http://schemas.microsoft.com/office/drawing/2014/main" id="{091CE550-CD28-4CF2-8946-384896CDCA12}"/>
              </a:ext>
            </a:extLst>
          </p:cNvPr>
          <p:cNvGrpSpPr/>
          <p:nvPr/>
        </p:nvGrpSpPr>
        <p:grpSpPr>
          <a:xfrm>
            <a:off x="4314878" y="2138243"/>
            <a:ext cx="1690244" cy="1157898"/>
            <a:chOff x="2362200" y="2500390"/>
            <a:chExt cx="2107274" cy="1443584"/>
          </a:xfrm>
        </p:grpSpPr>
        <p:sp>
          <p:nvSpPr>
            <p:cNvPr id="9" name="Rectangle 32">
              <a:extLst>
                <a:ext uri="{FF2B5EF4-FFF2-40B4-BE49-F238E27FC236}">
                  <a16:creationId xmlns:a16="http://schemas.microsoft.com/office/drawing/2014/main" id="{DB0FE0CA-BBA9-416E-8B9C-BA75F57198FB}"/>
                </a:ext>
              </a:extLst>
            </p:cNvPr>
            <p:cNvSpPr/>
            <p:nvPr/>
          </p:nvSpPr>
          <p:spPr bwMode="gray">
            <a:xfrm>
              <a:off x="2590800" y="2500390"/>
              <a:ext cx="1600200" cy="1170267"/>
            </a:xfrm>
            <a:prstGeom prst="rect">
              <a:avLst/>
            </a:prstGeom>
            <a:solidFill>
              <a:srgbClr val="93C11C">
                <a:alpha val="10196"/>
              </a:srgbClr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ctr">
                <a:buClr>
                  <a:schemeClr val="tx2"/>
                </a:buClr>
                <a:buSzPct val="80000"/>
              </a:pPr>
              <a:endParaRPr lang="en-GB" sz="1600" dirty="0" err="1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" name="Rectangle 15">
              <a:extLst>
                <a:ext uri="{FF2B5EF4-FFF2-40B4-BE49-F238E27FC236}">
                  <a16:creationId xmlns:a16="http://schemas.microsoft.com/office/drawing/2014/main" id="{E2DDCA4C-11BC-4290-83E4-542BDDB410F2}"/>
                </a:ext>
              </a:extLst>
            </p:cNvPr>
            <p:cNvSpPr/>
            <p:nvPr/>
          </p:nvSpPr>
          <p:spPr>
            <a:xfrm>
              <a:off x="2362200" y="3253289"/>
              <a:ext cx="2107274" cy="69068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200" b="1" dirty="0"/>
                <a:t>Data at Bank level</a:t>
              </a:r>
            </a:p>
            <a:p>
              <a:pPr lvl="0"/>
              <a:endParaRPr lang="en-US" dirty="0"/>
            </a:p>
          </p:txBody>
        </p:sp>
        <p:pic>
          <p:nvPicPr>
            <p:cNvPr id="11" name="Graphic 24" descr="Database">
              <a:extLst>
                <a:ext uri="{FF2B5EF4-FFF2-40B4-BE49-F238E27FC236}">
                  <a16:creationId xmlns:a16="http://schemas.microsoft.com/office/drawing/2014/main" id="{8936EF1D-A037-4673-AC9D-B83E8A3203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427711" y="2933453"/>
              <a:ext cx="317162" cy="317162"/>
            </a:xfrm>
            <a:prstGeom prst="rect">
              <a:avLst/>
            </a:prstGeom>
          </p:spPr>
        </p:pic>
        <p:pic>
          <p:nvPicPr>
            <p:cNvPr id="12" name="Graphic 26" descr="Bank">
              <a:extLst>
                <a:ext uri="{FF2B5EF4-FFF2-40B4-BE49-F238E27FC236}">
                  <a16:creationId xmlns:a16="http://schemas.microsoft.com/office/drawing/2014/main" id="{97700657-1951-4D28-8CD5-F410C22C343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108301" y="2737039"/>
              <a:ext cx="445779" cy="445779"/>
            </a:xfrm>
            <a:prstGeom prst="rect">
              <a:avLst/>
            </a:prstGeom>
          </p:spPr>
        </p:pic>
      </p:grpSp>
      <p:sp>
        <p:nvSpPr>
          <p:cNvPr id="13" name="Cross 57">
            <a:extLst>
              <a:ext uri="{FF2B5EF4-FFF2-40B4-BE49-F238E27FC236}">
                <a16:creationId xmlns:a16="http://schemas.microsoft.com/office/drawing/2014/main" id="{A6800117-3906-4704-9A4E-C4A06DB50247}"/>
              </a:ext>
            </a:extLst>
          </p:cNvPr>
          <p:cNvSpPr/>
          <p:nvPr/>
        </p:nvSpPr>
        <p:spPr bwMode="gray">
          <a:xfrm>
            <a:off x="5962640" y="2444312"/>
            <a:ext cx="367664" cy="367665"/>
          </a:xfrm>
          <a:prstGeom prst="plus">
            <a:avLst>
              <a:gd name="adj" fmla="val 39448"/>
            </a:avLst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>
              <a:buClr>
                <a:schemeClr val="tx2"/>
              </a:buClr>
              <a:buSzPct val="80000"/>
            </a:pPr>
            <a:endParaRPr lang="en-GB" sz="1600" dirty="0" err="1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44DDE0E-BAB4-4043-9C11-F6EFF67DD7C4}"/>
              </a:ext>
            </a:extLst>
          </p:cNvPr>
          <p:cNvGrpSpPr/>
          <p:nvPr/>
        </p:nvGrpSpPr>
        <p:grpSpPr>
          <a:xfrm>
            <a:off x="5991278" y="2152007"/>
            <a:ext cx="2327922" cy="1130370"/>
            <a:chOff x="6908030" y="2500390"/>
            <a:chExt cx="2902284" cy="1409263"/>
          </a:xfrm>
        </p:grpSpPr>
        <p:sp>
          <p:nvSpPr>
            <p:cNvPr id="15" name="Rectangle 1">
              <a:extLst>
                <a:ext uri="{FF2B5EF4-FFF2-40B4-BE49-F238E27FC236}">
                  <a16:creationId xmlns:a16="http://schemas.microsoft.com/office/drawing/2014/main" id="{1E50C6A9-8508-46F6-9F24-B5EEA93ECC50}"/>
                </a:ext>
              </a:extLst>
            </p:cNvPr>
            <p:cNvSpPr/>
            <p:nvPr/>
          </p:nvSpPr>
          <p:spPr bwMode="gray">
            <a:xfrm>
              <a:off x="7560856" y="2500390"/>
              <a:ext cx="1600199" cy="1170267"/>
            </a:xfrm>
            <a:prstGeom prst="rect">
              <a:avLst/>
            </a:prstGeom>
            <a:solidFill>
              <a:srgbClr val="0071B5">
                <a:alpha val="10196"/>
              </a:srgbClr>
            </a:solidFill>
            <a:ln w="127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ctr">
                <a:buClr>
                  <a:schemeClr val="tx2"/>
                </a:buClr>
                <a:buSzPct val="80000"/>
              </a:pPr>
              <a:endParaRPr lang="en-GB" sz="1600" dirty="0" err="1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pic>
          <p:nvPicPr>
            <p:cNvPr id="16" name="Graphic 33" descr="Satellite">
              <a:extLst>
                <a:ext uri="{FF2B5EF4-FFF2-40B4-BE49-F238E27FC236}">
                  <a16:creationId xmlns:a16="http://schemas.microsoft.com/office/drawing/2014/main" id="{0E7513ED-7BCB-4D89-997A-54E0015F02F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797069" y="2714852"/>
              <a:ext cx="359553" cy="359553"/>
            </a:xfrm>
            <a:prstGeom prst="rect">
              <a:avLst/>
            </a:prstGeom>
          </p:spPr>
        </p:pic>
        <p:pic>
          <p:nvPicPr>
            <p:cNvPr id="17" name="Graphic 36" descr="Document">
              <a:extLst>
                <a:ext uri="{FF2B5EF4-FFF2-40B4-BE49-F238E27FC236}">
                  <a16:creationId xmlns:a16="http://schemas.microsoft.com/office/drawing/2014/main" id="{A5A507C7-1E51-4C62-A14D-E76F1B27787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336817" y="2943673"/>
              <a:ext cx="337985" cy="337985"/>
            </a:xfrm>
            <a:prstGeom prst="rect">
              <a:avLst/>
            </a:prstGeom>
          </p:spPr>
        </p:pic>
        <p:pic>
          <p:nvPicPr>
            <p:cNvPr id="18" name="Graphic 54" descr="Document">
              <a:extLst>
                <a:ext uri="{FF2B5EF4-FFF2-40B4-BE49-F238E27FC236}">
                  <a16:creationId xmlns:a16="http://schemas.microsoft.com/office/drawing/2014/main" id="{EE15BF87-C989-490C-9848-9605CDC1049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809908">
              <a:off x="8143788" y="2991493"/>
              <a:ext cx="281631" cy="281631"/>
            </a:xfrm>
            <a:prstGeom prst="rect">
              <a:avLst/>
            </a:prstGeom>
          </p:spPr>
        </p:pic>
        <p:sp>
          <p:nvSpPr>
            <p:cNvPr id="19" name="Rectangle 56">
              <a:extLst>
                <a:ext uri="{FF2B5EF4-FFF2-40B4-BE49-F238E27FC236}">
                  <a16:creationId xmlns:a16="http://schemas.microsoft.com/office/drawing/2014/main" id="{134510D6-3A11-4141-B62A-7ED9423CC299}"/>
                </a:ext>
              </a:extLst>
            </p:cNvPr>
            <p:cNvSpPr/>
            <p:nvPr/>
          </p:nvSpPr>
          <p:spPr>
            <a:xfrm>
              <a:off x="6908030" y="3276526"/>
              <a:ext cx="2902284" cy="6331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200" b="1" dirty="0"/>
                <a:t>Additional data </a:t>
              </a:r>
              <a:endParaRPr lang="en-US" sz="1100" dirty="0"/>
            </a:p>
            <a:p>
              <a:pPr marL="285750" lvl="0" indent="-285750">
                <a:buFont typeface="Arial" panose="020B0604020202020204" pitchFamily="34" charset="0"/>
                <a:buChar char="•"/>
              </a:pPr>
              <a:endParaRPr lang="en-US" sz="1500" dirty="0"/>
            </a:p>
          </p:txBody>
        </p:sp>
      </p:grpSp>
      <p:pic>
        <p:nvPicPr>
          <p:cNvPr id="20" name="Graphic 27" descr="Checklist">
            <a:extLst>
              <a:ext uri="{FF2B5EF4-FFF2-40B4-BE49-F238E27FC236}">
                <a16:creationId xmlns:a16="http://schemas.microsoft.com/office/drawing/2014/main" id="{C0E82431-D9EE-4C9A-8196-CDFCBF3B6F8E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725469" y="5465922"/>
            <a:ext cx="571253" cy="571253"/>
          </a:xfrm>
          <a:prstGeom prst="rect">
            <a:avLst/>
          </a:prstGeom>
        </p:spPr>
      </p:pic>
      <p:sp>
        <p:nvSpPr>
          <p:cNvPr id="21" name="Rectangle 28">
            <a:extLst>
              <a:ext uri="{FF2B5EF4-FFF2-40B4-BE49-F238E27FC236}">
                <a16:creationId xmlns:a16="http://schemas.microsoft.com/office/drawing/2014/main" id="{CC6981D9-1BC0-4E86-9237-E04C55C6220D}"/>
              </a:ext>
            </a:extLst>
          </p:cNvPr>
          <p:cNvSpPr/>
          <p:nvPr/>
        </p:nvSpPr>
        <p:spPr>
          <a:xfrm>
            <a:off x="5270884" y="5261460"/>
            <a:ext cx="201169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600" b="1" dirty="0"/>
              <a:t>FLR Impact Report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100" dirty="0"/>
              <a:t>Conservation/restoratio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100" dirty="0"/>
              <a:t>Production/economic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100" dirty="0"/>
              <a:t>Livelihoods/well-being</a:t>
            </a:r>
          </a:p>
          <a:p>
            <a:pPr lvl="0"/>
            <a:endParaRPr lang="en-US" sz="1100" b="1" dirty="0"/>
          </a:p>
        </p:txBody>
      </p:sp>
      <p:pic>
        <p:nvPicPr>
          <p:cNvPr id="22" name="Graphic 30" descr="Gears">
            <a:extLst>
              <a:ext uri="{FF2B5EF4-FFF2-40B4-BE49-F238E27FC236}">
                <a16:creationId xmlns:a16="http://schemas.microsoft.com/office/drawing/2014/main" id="{C402273C-294A-4BBF-8C8D-B0FE427074CF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900000">
            <a:off x="5828804" y="3372821"/>
            <a:ext cx="687299" cy="661027"/>
          </a:xfrm>
          <a:prstGeom prst="rect">
            <a:avLst/>
          </a:prstGeom>
        </p:spPr>
      </p:pic>
      <p:cxnSp>
        <p:nvCxnSpPr>
          <p:cNvPr id="23" name="Straight Arrow Connector 31">
            <a:extLst>
              <a:ext uri="{FF2B5EF4-FFF2-40B4-BE49-F238E27FC236}">
                <a16:creationId xmlns:a16="http://schemas.microsoft.com/office/drawing/2014/main" id="{50630B7C-18E6-42B5-943D-B166F223591A}"/>
              </a:ext>
            </a:extLst>
          </p:cNvPr>
          <p:cNvCxnSpPr>
            <a:cxnSpLocks/>
          </p:cNvCxnSpPr>
          <p:nvPr/>
        </p:nvCxnSpPr>
        <p:spPr bwMode="gray">
          <a:xfrm>
            <a:off x="6107795" y="4844793"/>
            <a:ext cx="7596" cy="452154"/>
          </a:xfrm>
          <a:prstGeom prst="straightConnector1">
            <a:avLst/>
          </a:prstGeom>
          <a:ln w="571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34">
            <a:extLst>
              <a:ext uri="{FF2B5EF4-FFF2-40B4-BE49-F238E27FC236}">
                <a16:creationId xmlns:a16="http://schemas.microsoft.com/office/drawing/2014/main" id="{3A9A58A2-5541-4B58-8176-194DCEB7130F}"/>
              </a:ext>
            </a:extLst>
          </p:cNvPr>
          <p:cNvSpPr/>
          <p:nvPr/>
        </p:nvSpPr>
        <p:spPr>
          <a:xfrm>
            <a:off x="4907950" y="1644857"/>
            <a:ext cx="30168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/>
              <a:t>FLR IMPACT ENGINE </a:t>
            </a:r>
            <a:endParaRPr lang="en-GB" sz="2400" dirty="0"/>
          </a:p>
        </p:txBody>
      </p:sp>
      <p:sp>
        <p:nvSpPr>
          <p:cNvPr id="25" name="Rectangle 37">
            <a:extLst>
              <a:ext uri="{FF2B5EF4-FFF2-40B4-BE49-F238E27FC236}">
                <a16:creationId xmlns:a16="http://schemas.microsoft.com/office/drawing/2014/main" id="{E3DD56F1-C3DB-44BD-95EA-E33FF2EE16B4}"/>
              </a:ext>
            </a:extLst>
          </p:cNvPr>
          <p:cNvSpPr/>
          <p:nvPr/>
        </p:nvSpPr>
        <p:spPr>
          <a:xfrm>
            <a:off x="5372868" y="3919336"/>
            <a:ext cx="153875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/>
              <a:t>Impact Estimation</a:t>
            </a:r>
          </a:p>
        </p:txBody>
      </p:sp>
      <p:sp>
        <p:nvSpPr>
          <p:cNvPr id="26" name="Arrow: Bent 8">
            <a:extLst>
              <a:ext uri="{FF2B5EF4-FFF2-40B4-BE49-F238E27FC236}">
                <a16:creationId xmlns:a16="http://schemas.microsoft.com/office/drawing/2014/main" id="{DFC4B300-8180-41BD-9072-A4B88080B61E}"/>
              </a:ext>
            </a:extLst>
          </p:cNvPr>
          <p:cNvSpPr/>
          <p:nvPr/>
        </p:nvSpPr>
        <p:spPr bwMode="gray">
          <a:xfrm flipV="1">
            <a:off x="4772446" y="3569108"/>
            <a:ext cx="535838" cy="500682"/>
          </a:xfrm>
          <a:prstGeom prst="bentArrow">
            <a:avLst>
              <a:gd name="adj1" fmla="val 8513"/>
              <a:gd name="adj2" fmla="val 25000"/>
              <a:gd name="adj3" fmla="val 25000"/>
              <a:gd name="adj4" fmla="val 82022"/>
            </a:avLst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>
              <a:buClr>
                <a:schemeClr val="tx2"/>
              </a:buClr>
              <a:buSzPct val="80000"/>
            </a:pPr>
            <a:endParaRPr lang="en-GB" sz="1600" dirty="0" err="1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Arrow: Bent 42">
            <a:extLst>
              <a:ext uri="{FF2B5EF4-FFF2-40B4-BE49-F238E27FC236}">
                <a16:creationId xmlns:a16="http://schemas.microsoft.com/office/drawing/2014/main" id="{A73E029A-C60D-426F-8957-41BA205BD1A8}"/>
              </a:ext>
            </a:extLst>
          </p:cNvPr>
          <p:cNvSpPr/>
          <p:nvPr/>
        </p:nvSpPr>
        <p:spPr bwMode="gray">
          <a:xfrm flipH="1" flipV="1">
            <a:off x="6972424" y="3569108"/>
            <a:ext cx="535838" cy="500682"/>
          </a:xfrm>
          <a:prstGeom prst="bentArrow">
            <a:avLst>
              <a:gd name="adj1" fmla="val 8513"/>
              <a:gd name="adj2" fmla="val 25000"/>
              <a:gd name="adj3" fmla="val 25000"/>
              <a:gd name="adj4" fmla="val 82022"/>
            </a:avLst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>
              <a:buClr>
                <a:schemeClr val="tx2"/>
              </a:buClr>
              <a:buSzPct val="80000"/>
            </a:pPr>
            <a:endParaRPr lang="en-GB" sz="1600" dirty="0" err="1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" name="Rectangle 10">
            <a:extLst>
              <a:ext uri="{FF2B5EF4-FFF2-40B4-BE49-F238E27FC236}">
                <a16:creationId xmlns:a16="http://schemas.microsoft.com/office/drawing/2014/main" id="{4177656A-95A9-400E-819F-452C6B7F3E4E}"/>
              </a:ext>
            </a:extLst>
          </p:cNvPr>
          <p:cNvSpPr/>
          <p:nvPr/>
        </p:nvSpPr>
        <p:spPr>
          <a:xfrm>
            <a:off x="5085815" y="4157086"/>
            <a:ext cx="209354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/>
              <a:t>Automatically generates impact estimates </a:t>
            </a:r>
          </a:p>
        </p:txBody>
      </p:sp>
      <p:sp>
        <p:nvSpPr>
          <p:cNvPr id="29" name="Rectangle 13">
            <a:extLst>
              <a:ext uri="{FF2B5EF4-FFF2-40B4-BE49-F238E27FC236}">
                <a16:creationId xmlns:a16="http://schemas.microsoft.com/office/drawing/2014/main" id="{1C14B96A-6B17-48E6-AA31-2023D91BDC85}"/>
              </a:ext>
            </a:extLst>
          </p:cNvPr>
          <p:cNvSpPr/>
          <p:nvPr/>
        </p:nvSpPr>
        <p:spPr>
          <a:xfrm>
            <a:off x="3577826" y="3061589"/>
            <a:ext cx="227977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/>
              <a:t>Automatically accesses existing FI data</a:t>
            </a:r>
          </a:p>
        </p:txBody>
      </p:sp>
      <p:sp>
        <p:nvSpPr>
          <p:cNvPr id="30" name="Rectangle 14">
            <a:extLst>
              <a:ext uri="{FF2B5EF4-FFF2-40B4-BE49-F238E27FC236}">
                <a16:creationId xmlns:a16="http://schemas.microsoft.com/office/drawing/2014/main" id="{E8545D98-D5FF-45FA-B32D-CF9728EB727D}"/>
              </a:ext>
            </a:extLst>
          </p:cNvPr>
          <p:cNvSpPr/>
          <p:nvPr/>
        </p:nvSpPr>
        <p:spPr>
          <a:xfrm>
            <a:off x="6451808" y="3061589"/>
            <a:ext cx="217393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Automatically retrieves necessary third party data 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1440430654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1">
            <a:extLst>
              <a:ext uri="{FF2B5EF4-FFF2-40B4-BE49-F238E27FC236}">
                <a16:creationId xmlns:a16="http://schemas.microsoft.com/office/drawing/2014/main" id="{9FA9F5B6-A822-4F8E-8C7A-6FCFED20F75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4889" y="3245543"/>
            <a:ext cx="1618336" cy="968549"/>
          </a:xfrm>
          <a:prstGeom prst="rect">
            <a:avLst/>
          </a:prstGeom>
        </p:spPr>
      </p:pic>
      <p:pic>
        <p:nvPicPr>
          <p:cNvPr id="3" name="2015 02 19 Logo UNIQUE.png">
            <a:extLst>
              <a:ext uri="{FF2B5EF4-FFF2-40B4-BE49-F238E27FC236}">
                <a16:creationId xmlns:a16="http://schemas.microsoft.com/office/drawing/2014/main" id="{46577AC1-F9BC-4AF3-8002-E3CA11B6695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6583" y="4425398"/>
            <a:ext cx="1046137" cy="717351"/>
          </a:xfrm>
          <a:prstGeom prst="rect">
            <a:avLst/>
          </a:prstGeom>
          <a:ln w="12700">
            <a:miter lim="400000"/>
          </a:ln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71C8587B-EB3B-45AD-9A43-0F26F5266C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19789" y="5214553"/>
            <a:ext cx="1403436" cy="35640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9EC0B857-1093-49B4-9CB2-D4DF9B15C9C7}"/>
              </a:ext>
            </a:extLst>
          </p:cNvPr>
          <p:cNvSpPr txBox="1"/>
          <p:nvPr/>
        </p:nvSpPr>
        <p:spPr>
          <a:xfrm>
            <a:off x="206477" y="1224294"/>
            <a:ext cx="5889523" cy="22047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4572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de-DE" sz="280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sym typeface="Calibri"/>
              </a:rPr>
              <a:t>THANK YOU FOR YOUR ATTENTION !</a:t>
            </a:r>
          </a:p>
          <a:p>
            <a:pPr marL="0" marR="0" indent="0" algn="ctr" defTabSz="4572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de-DE" sz="280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Calibri"/>
            </a:endParaRPr>
          </a:p>
          <a:p>
            <a:pPr marL="0" marR="0" indent="0" algn="ctr" defTabSz="4572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de-DE" sz="2400" dirty="0" err="1"/>
              <a:t>Your</a:t>
            </a:r>
            <a:r>
              <a:rPr lang="de-DE" sz="2400" dirty="0"/>
              <a:t> FLILA-Team</a:t>
            </a:r>
          </a:p>
          <a:p>
            <a:pPr marL="0" marR="0" indent="0" algn="ctr" defTabSz="4572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de-DE" sz="240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Calibri"/>
            </a:endParaRPr>
          </a:p>
          <a:p>
            <a:pPr marL="0" marR="0" indent="0" algn="ctr" defTabSz="4572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de-DE" sz="2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sym typeface="Calibri"/>
              </a:rPr>
              <a:t>https://www.flila.org/</a:t>
            </a:r>
          </a:p>
        </p:txBody>
      </p:sp>
    </p:spTree>
    <p:extLst>
      <p:ext uri="{BB962C8B-B14F-4D97-AF65-F5344CB8AC3E}">
        <p14:creationId xmlns:p14="http://schemas.microsoft.com/office/powerpoint/2010/main" val="3575009362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png"/></Relationships>
</file>

<file path=ppt/theme/theme1.xml><?xml version="1.0" encoding="utf-8"?>
<a:theme xmlns:a="http://schemas.openxmlformats.org/drawingml/2006/main" name="UNIQUE">
  <a:themeElements>
    <a:clrScheme name="UNIQUE">
      <a:dk1>
        <a:sysClr val="windowText" lastClr="000000"/>
      </a:dk1>
      <a:lt1>
        <a:sysClr val="window" lastClr="FFFFFF"/>
      </a:lt1>
      <a:dk2>
        <a:srgbClr val="004632"/>
      </a:dk2>
      <a:lt2>
        <a:srgbClr val="FFFFFB"/>
      </a:lt2>
      <a:accent1>
        <a:srgbClr val="006348"/>
      </a:accent1>
      <a:accent2>
        <a:srgbClr val="CCE0DA"/>
      </a:accent2>
      <a:accent3>
        <a:srgbClr val="FFC000"/>
      </a:accent3>
      <a:accent4>
        <a:srgbClr val="FFE288"/>
      </a:accent4>
      <a:accent5>
        <a:srgbClr val="6E6E6E"/>
      </a:accent5>
      <a:accent6>
        <a:srgbClr val="D2D2D2"/>
      </a:accent6>
      <a:hlink>
        <a:srgbClr val="8E58B6"/>
      </a:hlink>
      <a:folHlink>
        <a:srgbClr val="7F6F6F"/>
      </a:folHlink>
    </a:clrScheme>
    <a:fontScheme name="White">
      <a:majorFont>
        <a:latin typeface="Calibri"/>
        <a:ea typeface="Calibri"/>
        <a:cs typeface="Calibri"/>
      </a:majorFont>
      <a:minorFont>
        <a:latin typeface="Calibri"/>
        <a:ea typeface="Calibri"/>
        <a:cs typeface="Calibri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 cap="flat">
          <a:solidFill>
            <a:schemeClr val="tx1"/>
          </a:solidFill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Light"/>
            <a:ea typeface="Helvetica Light"/>
            <a:cs typeface="Helvetica Light"/>
            <a:sym typeface="Helvetica Light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457200" rtl="0" fontAlgn="auto" latinLnBrk="0" hangingPunct="0">
          <a:lnSpc>
            <a:spcPct val="90000"/>
          </a:lnSpc>
          <a:spcBef>
            <a:spcPts val="0"/>
          </a:spcBef>
          <a:spcAft>
            <a:spcPts val="600"/>
          </a:spcAft>
          <a:buClrTx/>
          <a:buSzTx/>
          <a:buFontTx/>
          <a:buNone/>
          <a:tabLst/>
          <a:defRPr kumimoji="0" sz="2000" b="0" i="0" u="none" strike="noStrike" cap="none" spc="0" normalizeH="0" baseline="0" dirty="0" smtClean="0">
            <a:ln>
              <a:noFill/>
            </a:ln>
            <a:solidFill>
              <a:srgbClr val="000000"/>
            </a:solidFill>
            <a:effectLst/>
            <a:uFillTx/>
            <a:sym typeface="Calibri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Präsentation1" id="{3A08C178-22D8-47E2-BAAD-22CBFA60D9AE}" vid="{6CF529D3-3C25-4313-96D0-25F607857692}"/>
    </a:ext>
  </a:extLst>
</a:theme>
</file>

<file path=ppt/theme/theme2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Calibri"/>
        <a:ea typeface="Calibri"/>
        <a:cs typeface="Calibri"/>
      </a:majorFont>
      <a:minorFont>
        <a:latin typeface="Calibri"/>
        <a:ea typeface="Calibri"/>
        <a:cs typeface="Calibri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Light"/>
            <a:ea typeface="Helvetica Light"/>
            <a:cs typeface="Helvetica Light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457200" rtl="0" fontAlgn="auto" latinLnBrk="0" hangingPunct="0">
          <a:lnSpc>
            <a:spcPct val="9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Application xmlns="http://www.sap.com/cof/powerpoint/application">
  <Version>2</Version>
  <Revision>2.4.0.63248</Revision>
</Application>
</file>

<file path=customXml/item2.xml><?xml version="1.0" encoding="utf-8"?>
<Application xmlns="http://www.sap.com/cof/ao/powerpoint/application">
  <com.sap.ip.bi.pioneer>
    <Version>4</Version>
    <AAO_Revision>2.4.0.63248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Props1.xml><?xml version="1.0" encoding="utf-8"?>
<ds:datastoreItem xmlns:ds="http://schemas.openxmlformats.org/officeDocument/2006/customXml" ds:itemID="{6949DEAB-01CD-4817-9811-CABA3281B941}">
  <ds:schemaRefs>
    <ds:schemaRef ds:uri="http://www.sap.com/cof/powerpoint/application"/>
  </ds:schemaRefs>
</ds:datastoreItem>
</file>

<file path=customXml/itemProps2.xml><?xml version="1.0" encoding="utf-8"?>
<ds:datastoreItem xmlns:ds="http://schemas.openxmlformats.org/officeDocument/2006/customXml" ds:itemID="{31F581D4-C9DF-4293-8AA2-967C05577155}">
  <ds:schemaRefs>
    <ds:schemaRef ds:uri="http://www.sap.com/cof/ao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7-06-08 Powerpoint-Vorlage</Template>
  <TotalTime>0</TotalTime>
  <Words>622</Words>
  <Application>Microsoft Office PowerPoint</Application>
  <PresentationFormat>Breitbild</PresentationFormat>
  <Paragraphs>117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7" baseType="lpstr">
      <vt:lpstr>Arial</vt:lpstr>
      <vt:lpstr>Calibri</vt:lpstr>
      <vt:lpstr>Calibri Light</vt:lpstr>
      <vt:lpstr>Helvetica Light</vt:lpstr>
      <vt:lpstr>Lucida Grande</vt:lpstr>
      <vt:lpstr>Symbol</vt:lpstr>
      <vt:lpstr>Wingdings</vt:lpstr>
      <vt:lpstr>UNIQU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RD</dc:creator>
  <cp:lastModifiedBy>Till Pistorius</cp:lastModifiedBy>
  <cp:revision>107</cp:revision>
  <dcterms:created xsi:type="dcterms:W3CDTF">2021-03-11T09:45:47Z</dcterms:created>
  <dcterms:modified xsi:type="dcterms:W3CDTF">2021-04-22T09:30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a4f3930-35a4-43d2-be4a-3a5160255453_Enabled">
    <vt:lpwstr>True</vt:lpwstr>
  </property>
  <property fmtid="{D5CDD505-2E9C-101B-9397-08002B2CF9AE}" pid="3" name="MSIP_Label_5a4f3930-35a4-43d2-be4a-3a5160255453_SiteId">
    <vt:lpwstr>2d5eb7e2-d3ee-4bf5-bc62-79d5ae9cd9e1</vt:lpwstr>
  </property>
  <property fmtid="{D5CDD505-2E9C-101B-9397-08002B2CF9AE}" pid="4" name="MSIP_Label_5a4f3930-35a4-43d2-be4a-3a5160255453_Owner">
    <vt:lpwstr>Martin.Reichhuber@hella.com</vt:lpwstr>
  </property>
  <property fmtid="{D5CDD505-2E9C-101B-9397-08002B2CF9AE}" pid="5" name="MSIP_Label_5a4f3930-35a4-43d2-be4a-3a5160255453_SetDate">
    <vt:lpwstr>2021-03-16T20:26:47.3670650Z</vt:lpwstr>
  </property>
  <property fmtid="{D5CDD505-2E9C-101B-9397-08002B2CF9AE}" pid="6" name="MSIP_Label_5a4f3930-35a4-43d2-be4a-3a5160255453_Name">
    <vt:lpwstr>Internal</vt:lpwstr>
  </property>
  <property fmtid="{D5CDD505-2E9C-101B-9397-08002B2CF9AE}" pid="7" name="MSIP_Label_5a4f3930-35a4-43d2-be4a-3a5160255453_Application">
    <vt:lpwstr>Microsoft Azure Information Protection</vt:lpwstr>
  </property>
  <property fmtid="{D5CDD505-2E9C-101B-9397-08002B2CF9AE}" pid="8" name="MSIP_Label_5a4f3930-35a4-43d2-be4a-3a5160255453_ActionId">
    <vt:lpwstr>c44afefb-19e1-4563-bcfa-5454e1937cc2</vt:lpwstr>
  </property>
  <property fmtid="{D5CDD505-2E9C-101B-9397-08002B2CF9AE}" pid="9" name="MSIP_Label_5a4f3930-35a4-43d2-be4a-3a5160255453_Extended_MSFT_Method">
    <vt:lpwstr>Manual</vt:lpwstr>
  </property>
  <property fmtid="{D5CDD505-2E9C-101B-9397-08002B2CF9AE}" pid="10" name="MSIP_Label_f731df75-0a72-42d5-9cc1-0c4dcec1599e_Enabled">
    <vt:lpwstr>True</vt:lpwstr>
  </property>
  <property fmtid="{D5CDD505-2E9C-101B-9397-08002B2CF9AE}" pid="11" name="MSIP_Label_f731df75-0a72-42d5-9cc1-0c4dcec1599e_SiteId">
    <vt:lpwstr>2d5eb7e2-d3ee-4bf5-bc62-79d5ae9cd9e1</vt:lpwstr>
  </property>
  <property fmtid="{D5CDD505-2E9C-101B-9397-08002B2CF9AE}" pid="12" name="MSIP_Label_f731df75-0a72-42d5-9cc1-0c4dcec1599e_Owner">
    <vt:lpwstr>Martin.Reichhuber@hella.com</vt:lpwstr>
  </property>
  <property fmtid="{D5CDD505-2E9C-101B-9397-08002B2CF9AE}" pid="13" name="MSIP_Label_f731df75-0a72-42d5-9cc1-0c4dcec1599e_SetDate">
    <vt:lpwstr>2021-03-16T20:26:47.3670650Z</vt:lpwstr>
  </property>
  <property fmtid="{D5CDD505-2E9C-101B-9397-08002B2CF9AE}" pid="14" name="MSIP_Label_f731df75-0a72-42d5-9cc1-0c4dcec1599e_Name">
    <vt:lpwstr>Internal Usage</vt:lpwstr>
  </property>
  <property fmtid="{D5CDD505-2E9C-101B-9397-08002B2CF9AE}" pid="15" name="MSIP_Label_f731df75-0a72-42d5-9cc1-0c4dcec1599e_Application">
    <vt:lpwstr>Microsoft Azure Information Protection</vt:lpwstr>
  </property>
  <property fmtid="{D5CDD505-2E9C-101B-9397-08002B2CF9AE}" pid="16" name="MSIP_Label_f731df75-0a72-42d5-9cc1-0c4dcec1599e_ActionId">
    <vt:lpwstr>c44afefb-19e1-4563-bcfa-5454e1937cc2</vt:lpwstr>
  </property>
  <property fmtid="{D5CDD505-2E9C-101B-9397-08002B2CF9AE}" pid="17" name="MSIP_Label_f731df75-0a72-42d5-9cc1-0c4dcec1599e_Parent">
    <vt:lpwstr>5a4f3930-35a4-43d2-be4a-3a5160255453</vt:lpwstr>
  </property>
  <property fmtid="{D5CDD505-2E9C-101B-9397-08002B2CF9AE}" pid="18" name="MSIP_Label_f731df75-0a72-42d5-9cc1-0c4dcec1599e_Extended_MSFT_Method">
    <vt:lpwstr>Manual</vt:lpwstr>
  </property>
  <property fmtid="{D5CDD505-2E9C-101B-9397-08002B2CF9AE}" pid="19" name="Sensitivity">
    <vt:lpwstr>Internal Internal Usage</vt:lpwstr>
  </property>
</Properties>
</file>